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notesSlides/notesSlide1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15"/>
  </p:notesMasterIdLst>
  <p:sldIdLst>
    <p:sldId id="257" r:id="rId2"/>
    <p:sldId id="308" r:id="rId3"/>
    <p:sldId id="289" r:id="rId4"/>
    <p:sldId id="312" r:id="rId5"/>
    <p:sldId id="302" r:id="rId6"/>
    <p:sldId id="310" r:id="rId7"/>
    <p:sldId id="260" r:id="rId8"/>
    <p:sldId id="261" r:id="rId9"/>
    <p:sldId id="316" r:id="rId10"/>
    <p:sldId id="311" r:id="rId11"/>
    <p:sldId id="315" r:id="rId12"/>
    <p:sldId id="314" r:id="rId13"/>
    <p:sldId id="264" r:id="rId14"/>
  </p:sldIdLst>
  <p:sldSz cx="12192000" cy="6858000"/>
  <p:notesSz cx="7102475" cy="9388475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3B700"/>
    <a:srgbClr val="B4002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1A4B370C-D07F-4771-BA30-04B8BC7CEFA8}" v="20" dt="2023-08-09T01:24:10.257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29122" autoAdjust="0"/>
    <p:restoredTop sz="94660"/>
  </p:normalViewPr>
  <p:slideViewPr>
    <p:cSldViewPr snapToGrid="0">
      <p:cViewPr varScale="1">
        <p:scale>
          <a:sx n="111" d="100"/>
          <a:sy n="111" d="100"/>
        </p:scale>
        <p:origin x="216" y="47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presProps" Target="presProps.xml"/><Relationship Id="rId20" Type="http://schemas.microsoft.com/office/2015/10/relationships/revisionInfo" Target="revisionInfo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8163" cy="469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022725" y="0"/>
            <a:ext cx="3078163" cy="469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637AA9A-9B1A-4360-8720-87A0BF7228B7}" type="datetimeFigureOut">
              <a:rPr lang="en-US" smtClean="0"/>
              <a:t>8/14/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35013" y="1173163"/>
            <a:ext cx="5632450" cy="31686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9613" y="4518025"/>
            <a:ext cx="5683250" cy="3697288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918575"/>
            <a:ext cx="3078163" cy="4699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022725" y="8918575"/>
            <a:ext cx="3078163" cy="4699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525A282-ED25-418F-9222-9A5959AE141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9758335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6" name="Google Shape;86;p1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87" name="Google Shape;87;p11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A88459F-11BD-4F9D-AF64-95BBB10201AF}" type="datetimeFigureOut">
              <a:rPr lang="en-US" smtClean="0"/>
              <a:t>8/14/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C12A4-01F7-4CA2-8128-14C7DEE44D12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2940410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A88459F-11BD-4F9D-AF64-95BBB10201AF}" type="datetimeFigureOut">
              <a:rPr lang="en-US" smtClean="0"/>
              <a:t>8/14/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C12A4-01F7-4CA2-8128-14C7DEE44D12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2991841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A88459F-11BD-4F9D-AF64-95BBB10201AF}" type="datetimeFigureOut">
              <a:rPr lang="en-US" smtClean="0"/>
              <a:t>8/14/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C12A4-01F7-4CA2-8128-14C7DEE44D12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5340034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Header">
  <p:cSld name="1_Section Header">
    <p:spTree>
      <p:nvGrpSpPr>
        <p:cNvPr id="1" name="Shape 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Google Shape;13;p16"/>
          <p:cNvSpPr txBox="1">
            <a:spLocks noGrp="1"/>
          </p:cNvSpPr>
          <p:nvPr>
            <p:ph type="body" idx="1"/>
          </p:nvPr>
        </p:nvSpPr>
        <p:spPr>
          <a:xfrm>
            <a:off x="674688" y="544514"/>
            <a:ext cx="10625137" cy="70371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810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355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4" name="Google Shape;14;p16"/>
          <p:cNvSpPr txBox="1">
            <a:spLocks noGrp="1"/>
          </p:cNvSpPr>
          <p:nvPr>
            <p:ph type="body" idx="2"/>
          </p:nvPr>
        </p:nvSpPr>
        <p:spPr>
          <a:xfrm>
            <a:off x="674688" y="1367972"/>
            <a:ext cx="10625137" cy="412205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810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355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20309922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1_Two Content">
    <p:spTree>
      <p:nvGrpSpPr>
        <p:cNvPr id="1" name="Shape 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Google Shape;18;p18"/>
          <p:cNvSpPr txBox="1">
            <a:spLocks noGrp="1"/>
          </p:cNvSpPr>
          <p:nvPr>
            <p:ph type="body" idx="1"/>
          </p:nvPr>
        </p:nvSpPr>
        <p:spPr>
          <a:xfrm>
            <a:off x="674688" y="544514"/>
            <a:ext cx="10625137" cy="70371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810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355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9" name="Google Shape;19;p18"/>
          <p:cNvSpPr txBox="1">
            <a:spLocks noGrp="1"/>
          </p:cNvSpPr>
          <p:nvPr>
            <p:ph type="body" idx="2"/>
          </p:nvPr>
        </p:nvSpPr>
        <p:spPr>
          <a:xfrm>
            <a:off x="674688" y="1367973"/>
            <a:ext cx="5203825" cy="412205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810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355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20" name="Google Shape;20;p18"/>
          <p:cNvSpPr txBox="1">
            <a:spLocks noGrp="1"/>
          </p:cNvSpPr>
          <p:nvPr>
            <p:ph type="body" idx="3"/>
          </p:nvPr>
        </p:nvSpPr>
        <p:spPr>
          <a:xfrm>
            <a:off x="6096000" y="1367972"/>
            <a:ext cx="5203825" cy="412205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810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355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93863137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A88459F-11BD-4F9D-AF64-95BBB10201AF}" type="datetimeFigureOut">
              <a:rPr lang="en-US" smtClean="0"/>
              <a:t>8/14/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C12A4-01F7-4CA2-8128-14C7DEE44D12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0208258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A88459F-11BD-4F9D-AF64-95BBB10201AF}" type="datetimeFigureOut">
              <a:rPr lang="en-US" smtClean="0"/>
              <a:t>8/14/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C12A4-01F7-4CA2-8128-14C7DEE44D12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825970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A88459F-11BD-4F9D-AF64-95BBB10201AF}" type="datetimeFigureOut">
              <a:rPr lang="en-US" smtClean="0"/>
              <a:t>8/14/25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C12A4-01F7-4CA2-8128-14C7DEE44D12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7760798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A88459F-11BD-4F9D-AF64-95BBB10201AF}" type="datetimeFigureOut">
              <a:rPr lang="en-US" smtClean="0"/>
              <a:t>8/14/25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C12A4-01F7-4CA2-8128-14C7DEE44D12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5416910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A88459F-11BD-4F9D-AF64-95BBB10201AF}" type="datetimeFigureOut">
              <a:rPr lang="en-US" smtClean="0"/>
              <a:t>8/14/25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C12A4-01F7-4CA2-8128-14C7DEE44D12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2195119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A88459F-11BD-4F9D-AF64-95BBB10201AF}" type="datetimeFigureOut">
              <a:rPr lang="en-US" smtClean="0"/>
              <a:t>8/14/25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C12A4-01F7-4CA2-8128-14C7DEE44D12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6949784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A88459F-11BD-4F9D-AF64-95BBB10201AF}" type="datetimeFigureOut">
              <a:rPr lang="en-US" smtClean="0"/>
              <a:t>8/14/25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C12A4-01F7-4CA2-8128-14C7DEE44D12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4857434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A88459F-11BD-4F9D-AF64-95BBB10201AF}" type="datetimeFigureOut">
              <a:rPr lang="en-US" smtClean="0"/>
              <a:t>8/14/25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C12A4-01F7-4CA2-8128-14C7DEE44D12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0245653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A88459F-11BD-4F9D-AF64-95BBB10201AF}" type="datetimeFigureOut">
              <a:rPr lang="en-US" smtClean="0"/>
              <a:t>8/14/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CDC12A4-01F7-4CA2-8128-14C7DEE44D12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7" name="MSIPCMContentMarking" descr="{&quot;HashCode&quot;:-522956323,&quot;Placement&quot;:&quot;Footer&quot;,&quot;Top&quot;:519.343,&quot;Left&quot;:434.047333,&quot;SlideWidth&quot;:960,&quot;SlideHeight&quot;:540}">
            <a:extLst>
              <a:ext uri="{FF2B5EF4-FFF2-40B4-BE49-F238E27FC236}">
                <a16:creationId xmlns:a16="http://schemas.microsoft.com/office/drawing/2014/main" id="{C7309F36-E735-4880-A5C3-82787C9C491A}"/>
              </a:ext>
            </a:extLst>
          </p:cNvPr>
          <p:cNvSpPr txBox="1"/>
          <p:nvPr userDrawn="1"/>
        </p:nvSpPr>
        <p:spPr>
          <a:xfrm>
            <a:off x="5512401" y="6595656"/>
            <a:ext cx="1167199" cy="262344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US" sz="1000">
                <a:solidFill>
                  <a:srgbClr val="000000"/>
                </a:solidFill>
                <a:latin typeface="Calibri" panose="020F0502020204030204" pitchFamily="34" charset="0"/>
              </a:rPr>
              <a:t>General Business</a:t>
            </a:r>
          </a:p>
        </p:txBody>
      </p:sp>
    </p:spTree>
    <p:extLst>
      <p:ext uri="{BB962C8B-B14F-4D97-AF65-F5344CB8AC3E}">
        <p14:creationId xmlns:p14="http://schemas.microsoft.com/office/powerpoint/2010/main" val="4194733387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26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8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jpe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7" Type="http://schemas.openxmlformats.org/officeDocument/2006/relationships/image" Target="../media/image6.jpe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.x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image" Target="../media/image3.emf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image" Target="../media/image7.png"/><Relationship Id="rId7" Type="http://schemas.openxmlformats.org/officeDocument/2006/relationships/image" Target="../media/image11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0.png"/><Relationship Id="rId5" Type="http://schemas.openxmlformats.org/officeDocument/2006/relationships/image" Target="../media/image9.png"/><Relationship Id="rId4" Type="http://schemas.openxmlformats.org/officeDocument/2006/relationships/image" Target="../media/image8.png"/><Relationship Id="rId9" Type="http://schemas.openxmlformats.org/officeDocument/2006/relationships/image" Target="../media/image13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7" Type="http://schemas.openxmlformats.org/officeDocument/2006/relationships/image" Target="../media/image17.jpe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6.png"/><Relationship Id="rId5" Type="http://schemas.openxmlformats.org/officeDocument/2006/relationships/image" Target="../media/image13.png"/><Relationship Id="rId4" Type="http://schemas.openxmlformats.org/officeDocument/2006/relationships/image" Target="../media/image15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gif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19.png"/><Relationship Id="rId4" Type="http://schemas.openxmlformats.org/officeDocument/2006/relationships/image" Target="../media/image4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jpeg"/><Relationship Id="rId3" Type="http://schemas.openxmlformats.org/officeDocument/2006/relationships/image" Target="../media/image18.gif"/><Relationship Id="rId7" Type="http://schemas.openxmlformats.org/officeDocument/2006/relationships/image" Target="../media/image22.jpeg"/><Relationship Id="rId2" Type="http://schemas.openxmlformats.org/officeDocument/2006/relationships/image" Target="../media/image20.jpeg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16.png"/><Relationship Id="rId5" Type="http://schemas.openxmlformats.org/officeDocument/2006/relationships/image" Target="../media/image21.png"/><Relationship Id="rId4" Type="http://schemas.openxmlformats.org/officeDocument/2006/relationships/image" Target="../media/image4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8.gif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12.png"/><Relationship Id="rId5" Type="http://schemas.openxmlformats.org/officeDocument/2006/relationships/image" Target="../media/image25.jpeg"/><Relationship Id="rId4" Type="http://schemas.openxmlformats.org/officeDocument/2006/relationships/image" Target="../media/image24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ctrTitle"/>
          </p:nvPr>
        </p:nvSpPr>
        <p:spPr>
          <a:xfrm>
            <a:off x="101030" y="2226591"/>
            <a:ext cx="6096001" cy="2147926"/>
          </a:xfrm>
        </p:spPr>
        <p:txBody>
          <a:bodyPr/>
          <a:lstStyle/>
          <a:p>
            <a:r>
              <a:rPr lang="en-US" dirty="0"/>
              <a:t>POLY Industrial Advisory Board</a:t>
            </a:r>
          </a:p>
        </p:txBody>
      </p:sp>
      <p:sp>
        <p:nvSpPr>
          <p:cNvPr id="7" name="Rectangle 6"/>
          <p:cNvSpPr/>
          <p:nvPr/>
        </p:nvSpPr>
        <p:spPr>
          <a:xfrm>
            <a:off x="0" y="5419780"/>
            <a:ext cx="12192000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2400" u="sng" dirty="0">
                <a:solidFill>
                  <a:prstClr val="white"/>
                </a:solidFill>
              </a:rPr>
              <a:t>Chair</a:t>
            </a:r>
            <a:r>
              <a:rPr lang="en-US" sz="2400" dirty="0">
                <a:solidFill>
                  <a:prstClr val="white"/>
                </a:solidFill>
              </a:rPr>
              <a:t>: Jeff Ting (Nanite)</a:t>
            </a:r>
          </a:p>
          <a:p>
            <a:pPr algn="ctr"/>
            <a:r>
              <a:rPr lang="en-US" sz="2400" dirty="0">
                <a:solidFill>
                  <a:prstClr val="white"/>
                </a:solidFill>
              </a:rPr>
              <a:t>Co-Chair: Mike Sims (Syensqo)</a:t>
            </a:r>
          </a:p>
        </p:txBody>
      </p:sp>
      <p:sp>
        <p:nvSpPr>
          <p:cNvPr id="4" name="Rectangle 3"/>
          <p:cNvSpPr/>
          <p:nvPr/>
        </p:nvSpPr>
        <p:spPr>
          <a:xfrm>
            <a:off x="6095999" y="4466261"/>
            <a:ext cx="6096001" cy="861774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  <a:scene3d>
              <a:camera prst="orthographicFront"/>
              <a:lightRig rig="soft" dir="t">
                <a:rot lat="0" lon="0" rev="15600000"/>
              </a:lightRig>
            </a:scene3d>
            <a:sp3d extrusionH="57150" prstMaterial="softEdge">
              <a:bevelT w="25400" h="38100"/>
            </a:sp3d>
          </a:bodyPr>
          <a:lstStyle/>
          <a:p>
            <a:pPr algn="ctr"/>
            <a:r>
              <a:rPr lang="en-US" sz="2500" b="1" cap="none" spc="0" dirty="0">
                <a:ln/>
                <a:solidFill>
                  <a:schemeClr val="accent4"/>
                </a:solidFill>
                <a:effectLst/>
              </a:rPr>
              <a:t>Annual dues: $1,500</a:t>
            </a:r>
          </a:p>
          <a:p>
            <a:pPr algn="ctr"/>
            <a:r>
              <a:rPr lang="en-US" sz="2500" b="1" dirty="0">
                <a:ln/>
                <a:solidFill>
                  <a:schemeClr val="accent4"/>
                </a:solidFill>
              </a:rPr>
              <a:t>Small company dues: $500</a:t>
            </a:r>
            <a:endParaRPr lang="en-US" sz="2500" b="1" cap="none" spc="0" dirty="0">
              <a:ln/>
              <a:solidFill>
                <a:schemeClr val="accent4"/>
              </a:solidFill>
              <a:effectLst/>
            </a:endParaRPr>
          </a:p>
        </p:txBody>
      </p:sp>
      <p:pic>
        <p:nvPicPr>
          <p:cNvPr id="15" name="Picture 14" descr="A close-up of a logo&#10;&#10;Description automatically generated">
            <a:extLst>
              <a:ext uri="{FF2B5EF4-FFF2-40B4-BE49-F238E27FC236}">
                <a16:creationId xmlns:a16="http://schemas.microsoft.com/office/drawing/2014/main" id="{54E1ED61-0680-593F-3D95-3C1F82E132B0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2972" y="254451"/>
            <a:ext cx="4737228" cy="1139222"/>
          </a:xfrm>
          <a:prstGeom prst="rect">
            <a:avLst/>
          </a:prstGeom>
        </p:spPr>
      </p:pic>
      <p:pic>
        <p:nvPicPr>
          <p:cNvPr id="6" name="Picture 5" descr="A group of logos on a white background&#10;&#10;Description automatically generated">
            <a:extLst>
              <a:ext uri="{FF2B5EF4-FFF2-40B4-BE49-F238E27FC236}">
                <a16:creationId xmlns:a16="http://schemas.microsoft.com/office/drawing/2014/main" id="{520926DC-D019-2385-75ED-0F4CF4428357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09157" y="267850"/>
            <a:ext cx="5069683" cy="39174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9165223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D2F5390E-2035-975C-10D1-C73625BFCDA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787324" y="136551"/>
            <a:ext cx="1331632" cy="1327148"/>
          </a:xfrm>
          <a:prstGeom prst="rect">
            <a:avLst/>
          </a:prstGeom>
        </p:spPr>
      </p:pic>
      <p:sp>
        <p:nvSpPr>
          <p:cNvPr id="18" name="Title 6">
            <a:extLst>
              <a:ext uri="{FF2B5EF4-FFF2-40B4-BE49-F238E27FC236}">
                <a16:creationId xmlns:a16="http://schemas.microsoft.com/office/drawing/2014/main" id="{AB7B5B25-50F4-733F-B957-DED053DC5004}"/>
              </a:ext>
            </a:extLst>
          </p:cNvPr>
          <p:cNvSpPr txBox="1">
            <a:spLocks/>
          </p:cNvSpPr>
          <p:nvPr/>
        </p:nvSpPr>
        <p:spPr>
          <a:xfrm>
            <a:off x="271724" y="136551"/>
            <a:ext cx="10375459" cy="71607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New Initiatives in 2025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DC6302D7-66F7-D296-5413-945F43B61B43}"/>
              </a:ext>
            </a:extLst>
          </p:cNvPr>
          <p:cNvSpPr/>
          <p:nvPr/>
        </p:nvSpPr>
        <p:spPr>
          <a:xfrm>
            <a:off x="749665" y="1463699"/>
            <a:ext cx="9897518" cy="440120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800" dirty="0">
                <a:solidFill>
                  <a:prstClr val="white"/>
                </a:solidFill>
              </a:rPr>
              <a:t>ACS Spring 2026 – Industry posters as recruitment / visibility tool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800" dirty="0">
                <a:solidFill>
                  <a:prstClr val="white"/>
                </a:solidFill>
              </a:rPr>
              <a:t>Support more polymer-based student run conferences </a:t>
            </a:r>
          </a:p>
          <a:p>
            <a:r>
              <a:rPr lang="en-US" sz="2800" dirty="0">
                <a:solidFill>
                  <a:prstClr val="white"/>
                </a:solidFill>
              </a:rPr>
              <a:t>	(U-M Macro Symposium, UMass CUMIRP events etc.)  </a:t>
            </a:r>
          </a:p>
          <a:p>
            <a:r>
              <a:rPr lang="en-US" sz="2800" dirty="0">
                <a:solidFill>
                  <a:prstClr val="white"/>
                </a:solidFill>
              </a:rPr>
              <a:t>	Not limited to sponsorship but hold panel discussions in these 	events – having IAB members as speaker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800" dirty="0">
                <a:solidFill>
                  <a:prstClr val="white"/>
                </a:solidFill>
              </a:rPr>
              <a:t>IAB Led Workshops 2026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800" dirty="0">
                <a:solidFill>
                  <a:prstClr val="white"/>
                </a:solidFill>
              </a:rPr>
              <a:t>Internship pipelines – a document??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800" dirty="0">
                <a:solidFill>
                  <a:prstClr val="white"/>
                </a:solidFill>
              </a:rPr>
              <a:t>Expansion of member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800" dirty="0">
                <a:solidFill>
                  <a:prstClr val="white"/>
                </a:solidFill>
              </a:rPr>
              <a:t>Thought leadership, policy advocacy</a:t>
            </a:r>
          </a:p>
          <a:p>
            <a:r>
              <a:rPr lang="en-US" sz="2800" dirty="0">
                <a:solidFill>
                  <a:prstClr val="white"/>
                </a:solidFill>
              </a:rPr>
              <a:t>	</a:t>
            </a:r>
            <a:r>
              <a:rPr lang="en-US" sz="2400" dirty="0">
                <a:solidFill>
                  <a:prstClr val="white"/>
                </a:solidFill>
              </a:rPr>
              <a:t>A whitepaper on emerging trends, manufacturing, regulatory related etc.</a:t>
            </a:r>
            <a:endParaRPr lang="en-US" sz="280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9252342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88DBA19-87FB-1933-5CFC-F1F86BBE09D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ublicity Initiative: IAB Members Spotlight</a:t>
            </a:r>
          </a:p>
        </p:txBody>
      </p:sp>
      <p:pic>
        <p:nvPicPr>
          <p:cNvPr id="8" name="Picture 7" descr="A person in a blue shirt&#10;&#10;Description automatically generated">
            <a:extLst>
              <a:ext uri="{FF2B5EF4-FFF2-40B4-BE49-F238E27FC236}">
                <a16:creationId xmlns:a16="http://schemas.microsoft.com/office/drawing/2014/main" id="{046A704F-526D-16C1-2E1D-0270AC25CB51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8200" y="2456760"/>
            <a:ext cx="4626984" cy="2602679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33E910E8-3D7E-0A38-1D98-771CF884FEF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643592" y="2456760"/>
            <a:ext cx="2049535" cy="2621991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43CF055E-59F3-2B07-1881-1A9B544E8330}"/>
              </a:ext>
            </a:extLst>
          </p:cNvPr>
          <p:cNvSpPr txBox="1"/>
          <p:nvPr/>
        </p:nvSpPr>
        <p:spPr>
          <a:xfrm>
            <a:off x="6096000" y="1690688"/>
            <a:ext cx="5504761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800" b="1" dirty="0"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Inspiration</a:t>
            </a:r>
            <a:endParaRPr lang="en-US" dirty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6639CE89-2690-116F-8BD9-705C34A9556B}"/>
              </a:ext>
            </a:extLst>
          </p:cNvPr>
          <p:cNvSpPr txBox="1"/>
          <p:nvPr/>
        </p:nvSpPr>
        <p:spPr>
          <a:xfrm>
            <a:off x="591239" y="1690688"/>
            <a:ext cx="5504761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800" b="1" dirty="0"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Example: Highlights company, applications/industries, and IAB representative for sharing with Network</a:t>
            </a:r>
            <a:endParaRPr lang="en-US" dirty="0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9D0DF846-A5E4-9227-221F-DAD7F534CE0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921230" y="2456760"/>
            <a:ext cx="2282898" cy="2621990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E25991D6-2D7C-1CD9-2429-787E204C0095}"/>
              </a:ext>
            </a:extLst>
          </p:cNvPr>
          <p:cNvSpPr txBox="1"/>
          <p:nvPr/>
        </p:nvSpPr>
        <p:spPr>
          <a:xfrm>
            <a:off x="1865031" y="5641213"/>
            <a:ext cx="8461938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800" b="1" dirty="0"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Targeting specific individuals at this meeting in the POLY + PMSE industry session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5532955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6A3E4952-19E7-0976-B87A-16D0BCB7F8F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23" name="Rectangle 8">
            <a:extLst>
              <a:ext uri="{FF2B5EF4-FFF2-40B4-BE49-F238E27FC236}">
                <a16:creationId xmlns:a16="http://schemas.microsoft.com/office/drawing/2014/main" id="{D4066D41-36AD-02C8-382D-23CA2FE96EE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1"/>
            <a:ext cx="12191695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Rectangle 10">
            <a:extLst>
              <a:ext uri="{FF2B5EF4-FFF2-40B4-BE49-F238E27FC236}">
                <a16:creationId xmlns:a16="http://schemas.microsoft.com/office/drawing/2014/main" id="{38095C8B-A34A-3372-9C25-195B93E9D4E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305" y="0"/>
            <a:ext cx="12191695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800"/>
          </a:p>
        </p:txBody>
      </p:sp>
      <p:grpSp>
        <p:nvGrpSpPr>
          <p:cNvPr id="25" name="Group 12">
            <a:extLst>
              <a:ext uri="{FF2B5EF4-FFF2-40B4-BE49-F238E27FC236}">
                <a16:creationId xmlns:a16="http://schemas.microsoft.com/office/drawing/2014/main" id="{8F349B7B-88FC-2884-B1E4-99E9CAA926E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 noGrp="1" noUngrp="1" noRot="1" noChangeAspect="1" noMove="1" noResize="1"/>
          </p:cNvGrp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GrpSpPr>
        <p:grpSpPr>
          <a:xfrm>
            <a:off x="-21863" y="508838"/>
            <a:ext cx="5217958" cy="6239661"/>
            <a:chOff x="-19221" y="251144"/>
            <a:chExt cx="5217958" cy="6239661"/>
          </a:xfrm>
        </p:grpSpPr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D063B556-D182-ED52-C90E-3AA756680008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-19221" y="251144"/>
              <a:ext cx="5187198" cy="6239661"/>
            </a:xfrm>
            <a:custGeom>
              <a:avLst/>
              <a:gdLst>
                <a:gd name="connsiteX0" fmla="*/ 2011811 w 5187198"/>
                <a:gd name="connsiteY0" fmla="*/ 4 h 6239661"/>
                <a:gd name="connsiteX1" fmla="*/ 2617011 w 5187198"/>
                <a:gd name="connsiteY1" fmla="*/ 70590 h 6239661"/>
                <a:gd name="connsiteX2" fmla="*/ 2690321 w 5187198"/>
                <a:gd name="connsiteY2" fmla="*/ 88146 h 6239661"/>
                <a:gd name="connsiteX3" fmla="*/ 2726863 w 5187198"/>
                <a:gd name="connsiteY3" fmla="*/ 97127 h 6239661"/>
                <a:gd name="connsiteX4" fmla="*/ 2762951 w 5187198"/>
                <a:gd name="connsiteY4" fmla="*/ 107375 h 6239661"/>
                <a:gd name="connsiteX5" fmla="*/ 2834843 w 5187198"/>
                <a:gd name="connsiteY5" fmla="*/ 128493 h 6239661"/>
                <a:gd name="connsiteX6" fmla="*/ 2906574 w 5187198"/>
                <a:gd name="connsiteY6" fmla="*/ 151076 h 6239661"/>
                <a:gd name="connsiteX7" fmla="*/ 3049504 w 5187198"/>
                <a:gd name="connsiteY7" fmla="*/ 202124 h 6239661"/>
                <a:gd name="connsiteX8" fmla="*/ 3189518 w 5187198"/>
                <a:gd name="connsiteY8" fmla="*/ 260159 h 6239661"/>
                <a:gd name="connsiteX9" fmla="*/ 3326048 w 5187198"/>
                <a:gd name="connsiteY9" fmla="*/ 325143 h 6239661"/>
                <a:gd name="connsiteX10" fmla="*/ 3459166 w 5187198"/>
                <a:gd name="connsiteY10" fmla="*/ 395936 h 6239661"/>
                <a:gd name="connsiteX11" fmla="*/ 3588578 w 5187198"/>
                <a:gd name="connsiteY11" fmla="*/ 472343 h 6239661"/>
                <a:gd name="connsiteX12" fmla="*/ 3651864 w 5187198"/>
                <a:gd name="connsiteY12" fmla="*/ 512600 h 6239661"/>
                <a:gd name="connsiteX13" fmla="*/ 3714514 w 5187198"/>
                <a:gd name="connsiteY13" fmla="*/ 553499 h 6239661"/>
                <a:gd name="connsiteX14" fmla="*/ 4181221 w 5187198"/>
                <a:gd name="connsiteY14" fmla="*/ 922912 h 6239661"/>
                <a:gd name="connsiteX15" fmla="*/ 4582963 w 5187198"/>
                <a:gd name="connsiteY15" fmla="*/ 1358264 h 6239661"/>
                <a:gd name="connsiteX16" fmla="*/ 4670721 w 5187198"/>
                <a:gd name="connsiteY16" fmla="*/ 1477644 h 6239661"/>
                <a:gd name="connsiteX17" fmla="*/ 4752378 w 5187198"/>
                <a:gd name="connsiteY17" fmla="*/ 1601187 h 6239661"/>
                <a:gd name="connsiteX18" fmla="*/ 4772168 w 5187198"/>
                <a:gd name="connsiteY18" fmla="*/ 1632456 h 6239661"/>
                <a:gd name="connsiteX19" fmla="*/ 4782117 w 5187198"/>
                <a:gd name="connsiteY19" fmla="*/ 1648104 h 6239661"/>
                <a:gd name="connsiteX20" fmla="*/ 4791381 w 5187198"/>
                <a:gd name="connsiteY20" fmla="*/ 1664150 h 6239661"/>
                <a:gd name="connsiteX21" fmla="*/ 4828190 w 5187198"/>
                <a:gd name="connsiteY21" fmla="*/ 1728379 h 6239661"/>
                <a:gd name="connsiteX22" fmla="*/ 4864832 w 5187198"/>
                <a:gd name="connsiteY22" fmla="*/ 1792796 h 6239661"/>
                <a:gd name="connsiteX23" fmla="*/ 4899201 w 5187198"/>
                <a:gd name="connsiteY23" fmla="*/ 1858342 h 6239661"/>
                <a:gd name="connsiteX24" fmla="*/ 4933266 w 5187198"/>
                <a:gd name="connsiteY24" fmla="*/ 1924155 h 6239661"/>
                <a:gd name="connsiteX25" fmla="*/ 4964403 w 5187198"/>
                <a:gd name="connsiteY25" fmla="*/ 1991384 h 6239661"/>
                <a:gd name="connsiteX26" fmla="*/ 4995019 w 5187198"/>
                <a:gd name="connsiteY26" fmla="*/ 2058823 h 6239661"/>
                <a:gd name="connsiteX27" fmla="*/ 5021999 w 5187198"/>
                <a:gd name="connsiteY27" fmla="*/ 2127723 h 6239661"/>
                <a:gd name="connsiteX28" fmla="*/ 5048321 w 5187198"/>
                <a:gd name="connsiteY28" fmla="*/ 2196908 h 6239661"/>
                <a:gd name="connsiteX29" fmla="*/ 5070546 w 5187198"/>
                <a:gd name="connsiteY29" fmla="*/ 2267547 h 6239661"/>
                <a:gd name="connsiteX30" fmla="*/ 5092171 w 5187198"/>
                <a:gd name="connsiteY30" fmla="*/ 2338256 h 6239661"/>
                <a:gd name="connsiteX31" fmla="*/ 5110305 w 5187198"/>
                <a:gd name="connsiteY31" fmla="*/ 2409886 h 6239661"/>
                <a:gd name="connsiteX32" fmla="*/ 5186393 w 5187198"/>
                <a:gd name="connsiteY32" fmla="*/ 2992022 h 6239661"/>
                <a:gd name="connsiteX33" fmla="*/ 5149045 w 5187198"/>
                <a:gd name="connsiteY33" fmla="*/ 3571816 h 6239661"/>
                <a:gd name="connsiteX34" fmla="*/ 5126572 w 5187198"/>
                <a:gd name="connsiteY34" fmla="*/ 3714520 h 6239661"/>
                <a:gd name="connsiteX35" fmla="*/ 5099067 w 5187198"/>
                <a:gd name="connsiteY35" fmla="*/ 3856108 h 6239661"/>
                <a:gd name="connsiteX36" fmla="*/ 5095699 w 5187198"/>
                <a:gd name="connsiteY36" fmla="*/ 3873868 h 6239661"/>
                <a:gd name="connsiteX37" fmla="*/ 5091573 w 5187198"/>
                <a:gd name="connsiteY37" fmla="*/ 3891426 h 6239661"/>
                <a:gd name="connsiteX38" fmla="*/ 5083324 w 5187198"/>
                <a:gd name="connsiteY38" fmla="*/ 3926541 h 6239661"/>
                <a:gd name="connsiteX39" fmla="*/ 5067256 w 5187198"/>
                <a:gd name="connsiteY39" fmla="*/ 3996889 h 6239661"/>
                <a:gd name="connsiteX40" fmla="*/ 5059194 w 5187198"/>
                <a:gd name="connsiteY40" fmla="*/ 4032171 h 6239661"/>
                <a:gd name="connsiteX41" fmla="*/ 5049522 w 5187198"/>
                <a:gd name="connsiteY41" fmla="*/ 4067833 h 6239661"/>
                <a:gd name="connsiteX42" fmla="*/ 5040067 w 5187198"/>
                <a:gd name="connsiteY42" fmla="*/ 4103553 h 6239661"/>
                <a:gd name="connsiteX43" fmla="*/ 5028960 w 5187198"/>
                <a:gd name="connsiteY43" fmla="*/ 4138946 h 6239661"/>
                <a:gd name="connsiteX44" fmla="*/ 4917351 w 5187198"/>
                <a:gd name="connsiteY44" fmla="*/ 4417041 h 6239661"/>
                <a:gd name="connsiteX45" fmla="*/ 4756163 w 5187198"/>
                <a:gd name="connsiteY45" fmla="*/ 4676402 h 6239661"/>
                <a:gd name="connsiteX46" fmla="*/ 4322493 w 5187198"/>
                <a:gd name="connsiteY46" fmla="*/ 5105604 h 6239661"/>
                <a:gd name="connsiteX47" fmla="*/ 3840510 w 5187198"/>
                <a:gd name="connsiteY47" fmla="*/ 5429590 h 6239661"/>
                <a:gd name="connsiteX48" fmla="*/ 3606447 w 5187198"/>
                <a:gd name="connsiteY48" fmla="*/ 5572862 h 6239661"/>
                <a:gd name="connsiteX49" fmla="*/ 3488814 w 5187198"/>
                <a:gd name="connsiteY49" fmla="*/ 5647178 h 6239661"/>
                <a:gd name="connsiteX50" fmla="*/ 3365864 w 5187198"/>
                <a:gd name="connsiteY50" fmla="*/ 5722735 h 6239661"/>
                <a:gd name="connsiteX51" fmla="*/ 2839486 w 5187198"/>
                <a:gd name="connsiteY51" fmla="*/ 5999120 h 6239661"/>
                <a:gd name="connsiteX52" fmla="*/ 2242423 w 5187198"/>
                <a:gd name="connsiteY52" fmla="*/ 6192346 h 6239661"/>
                <a:gd name="connsiteX53" fmla="*/ 1589380 w 5187198"/>
                <a:gd name="connsiteY53" fmla="*/ 6230657 h 6239661"/>
                <a:gd name="connsiteX54" fmla="*/ 1548244 w 5187198"/>
                <a:gd name="connsiteY54" fmla="*/ 6226706 h 6239661"/>
                <a:gd name="connsiteX55" fmla="*/ 1507348 w 5187198"/>
                <a:gd name="connsiteY55" fmla="*/ 6221428 h 6239661"/>
                <a:gd name="connsiteX56" fmla="*/ 1466401 w 5187198"/>
                <a:gd name="connsiteY56" fmla="*/ 6215904 h 6239661"/>
                <a:gd name="connsiteX57" fmla="*/ 1425773 w 5187198"/>
                <a:gd name="connsiteY57" fmla="*/ 6209191 h 6239661"/>
                <a:gd name="connsiteX58" fmla="*/ 1344960 w 5187198"/>
                <a:gd name="connsiteY58" fmla="*/ 6193681 h 6239661"/>
                <a:gd name="connsiteX59" fmla="*/ 1265007 w 5187198"/>
                <a:gd name="connsiteY59" fmla="*/ 6175388 h 6239661"/>
                <a:gd name="connsiteX60" fmla="*/ 1225415 w 5187198"/>
                <a:gd name="connsiteY60" fmla="*/ 6165243 h 6239661"/>
                <a:gd name="connsiteX61" fmla="*/ 1186567 w 5187198"/>
                <a:gd name="connsiteY61" fmla="*/ 6154486 h 6239661"/>
                <a:gd name="connsiteX62" fmla="*/ 1111158 w 5187198"/>
                <a:gd name="connsiteY62" fmla="*/ 6130918 h 6239661"/>
                <a:gd name="connsiteX63" fmla="*/ 1035915 w 5187198"/>
                <a:gd name="connsiteY63" fmla="*/ 6107163 h 6239661"/>
                <a:gd name="connsiteX64" fmla="*/ 961579 w 5187198"/>
                <a:gd name="connsiteY64" fmla="*/ 6079594 h 6239661"/>
                <a:gd name="connsiteX65" fmla="*/ 395297 w 5187198"/>
                <a:gd name="connsiteY65" fmla="*/ 5792812 h 6239661"/>
                <a:gd name="connsiteX66" fmla="*/ 265239 w 5187198"/>
                <a:gd name="connsiteY66" fmla="*/ 5701511 h 6239661"/>
                <a:gd name="connsiteX67" fmla="*/ 233756 w 5187198"/>
                <a:gd name="connsiteY67" fmla="*/ 5677542 h 6239661"/>
                <a:gd name="connsiteX68" fmla="*/ 202800 w 5187198"/>
                <a:gd name="connsiteY68" fmla="*/ 5652902 h 6239661"/>
                <a:gd name="connsiteX69" fmla="*/ 140918 w 5187198"/>
                <a:gd name="connsiteY69" fmla="*/ 5603515 h 6239661"/>
                <a:gd name="connsiteX70" fmla="*/ 110625 w 5187198"/>
                <a:gd name="connsiteY70" fmla="*/ 5578127 h 6239661"/>
                <a:gd name="connsiteX71" fmla="*/ 95631 w 5187198"/>
                <a:gd name="connsiteY71" fmla="*/ 5565299 h 6239661"/>
                <a:gd name="connsiteX72" fmla="*/ 81966 w 5187198"/>
                <a:gd name="connsiteY72" fmla="*/ 5550973 h 6239661"/>
                <a:gd name="connsiteX73" fmla="*/ 27991 w 5187198"/>
                <a:gd name="connsiteY73" fmla="*/ 5493272 h 6239661"/>
                <a:gd name="connsiteX74" fmla="*/ 1454 w 5187198"/>
                <a:gd name="connsiteY74" fmla="*/ 5464252 h 6239661"/>
                <a:gd name="connsiteX75" fmla="*/ 0 w 5187198"/>
                <a:gd name="connsiteY75" fmla="*/ 5462518 h 6239661"/>
                <a:gd name="connsiteX76" fmla="*/ 0 w 5187198"/>
                <a:gd name="connsiteY76" fmla="*/ 4720187 h 6239661"/>
                <a:gd name="connsiteX77" fmla="*/ 109684 w 5187198"/>
                <a:gd name="connsiteY77" fmla="*/ 4836724 h 6239661"/>
                <a:gd name="connsiteX78" fmla="*/ 306959 w 5187198"/>
                <a:gd name="connsiteY78" fmla="*/ 5007200 h 6239661"/>
                <a:gd name="connsiteX79" fmla="*/ 358101 w 5187198"/>
                <a:gd name="connsiteY79" fmla="*/ 5046057 h 6239661"/>
                <a:gd name="connsiteX80" fmla="*/ 383328 w 5187198"/>
                <a:gd name="connsiteY80" fmla="*/ 5065684 h 6239661"/>
                <a:gd name="connsiteX81" fmla="*/ 409503 w 5187198"/>
                <a:gd name="connsiteY81" fmla="*/ 5083942 h 6239661"/>
                <a:gd name="connsiteX82" fmla="*/ 461889 w 5187198"/>
                <a:gd name="connsiteY82" fmla="*/ 5119888 h 6239661"/>
                <a:gd name="connsiteX83" fmla="*/ 474883 w 5187198"/>
                <a:gd name="connsiteY83" fmla="*/ 5128933 h 6239661"/>
                <a:gd name="connsiteX84" fmla="*/ 486410 w 5187198"/>
                <a:gd name="connsiteY84" fmla="*/ 5139557 h 6239661"/>
                <a:gd name="connsiteX85" fmla="*/ 510852 w 5187198"/>
                <a:gd name="connsiteY85" fmla="*/ 5159089 h 6239661"/>
                <a:gd name="connsiteX86" fmla="*/ 560653 w 5187198"/>
                <a:gd name="connsiteY86" fmla="*/ 5196893 h 6239661"/>
                <a:gd name="connsiteX87" fmla="*/ 585485 w 5187198"/>
                <a:gd name="connsiteY87" fmla="*/ 5215834 h 6239661"/>
                <a:gd name="connsiteX88" fmla="*/ 610707 w 5187198"/>
                <a:gd name="connsiteY88" fmla="*/ 5234185 h 6239661"/>
                <a:gd name="connsiteX89" fmla="*/ 714768 w 5187198"/>
                <a:gd name="connsiteY89" fmla="*/ 5303103 h 6239661"/>
                <a:gd name="connsiteX90" fmla="*/ 1166634 w 5187198"/>
                <a:gd name="connsiteY90" fmla="*/ 5513322 h 6239661"/>
                <a:gd name="connsiteX91" fmla="*/ 1225991 w 5187198"/>
                <a:gd name="connsiteY91" fmla="*/ 5533632 h 6239661"/>
                <a:gd name="connsiteX92" fmla="*/ 1286680 w 5187198"/>
                <a:gd name="connsiteY92" fmla="*/ 5550705 h 6239661"/>
                <a:gd name="connsiteX93" fmla="*/ 1347310 w 5187198"/>
                <a:gd name="connsiteY93" fmla="*/ 5567995 h 6239661"/>
                <a:gd name="connsiteX94" fmla="*/ 1377002 w 5187198"/>
                <a:gd name="connsiteY94" fmla="*/ 5575719 h 6239661"/>
                <a:gd name="connsiteX95" fmla="*/ 1406328 w 5187198"/>
                <a:gd name="connsiteY95" fmla="*/ 5582649 h 6239661"/>
                <a:gd name="connsiteX96" fmla="*/ 1465060 w 5187198"/>
                <a:gd name="connsiteY96" fmla="*/ 5594909 h 6239661"/>
                <a:gd name="connsiteX97" fmla="*/ 1523881 w 5187198"/>
                <a:gd name="connsiteY97" fmla="*/ 5605105 h 6239661"/>
                <a:gd name="connsiteX98" fmla="*/ 1553325 w 5187198"/>
                <a:gd name="connsiteY98" fmla="*/ 5609865 h 6239661"/>
                <a:gd name="connsiteX99" fmla="*/ 1582813 w 5187198"/>
                <a:gd name="connsiteY99" fmla="*/ 5613593 h 6239661"/>
                <a:gd name="connsiteX100" fmla="*/ 1612301 w 5187198"/>
                <a:gd name="connsiteY100" fmla="*/ 5617321 h 6239661"/>
                <a:gd name="connsiteX101" fmla="*/ 1641863 w 5187198"/>
                <a:gd name="connsiteY101" fmla="*/ 5619910 h 6239661"/>
                <a:gd name="connsiteX102" fmla="*/ 2117508 w 5187198"/>
                <a:gd name="connsiteY102" fmla="*/ 5595156 h 6239661"/>
                <a:gd name="connsiteX103" fmla="*/ 2597368 w 5187198"/>
                <a:gd name="connsiteY103" fmla="*/ 5447381 h 6239661"/>
                <a:gd name="connsiteX104" fmla="*/ 3082968 w 5187198"/>
                <a:gd name="connsiteY104" fmla="*/ 5223245 h 6239661"/>
                <a:gd name="connsiteX105" fmla="*/ 3334855 w 5187198"/>
                <a:gd name="connsiteY105" fmla="*/ 5097383 h 6239661"/>
                <a:gd name="connsiteX106" fmla="*/ 3599509 w 5187198"/>
                <a:gd name="connsiteY106" fmla="*/ 4976217 h 6239661"/>
                <a:gd name="connsiteX107" fmla="*/ 4112002 w 5187198"/>
                <a:gd name="connsiteY107" fmla="*/ 4766359 h 6239661"/>
                <a:gd name="connsiteX108" fmla="*/ 4348983 w 5187198"/>
                <a:gd name="connsiteY108" fmla="*/ 4649833 h 6239661"/>
                <a:gd name="connsiteX109" fmla="*/ 4560505 w 5187198"/>
                <a:gd name="connsiteY109" fmla="*/ 4501564 h 6239661"/>
                <a:gd name="connsiteX110" fmla="*/ 4731963 w 5187198"/>
                <a:gd name="connsiteY110" fmla="*/ 4309870 h 6239661"/>
                <a:gd name="connsiteX111" fmla="*/ 4852344 w 5187198"/>
                <a:gd name="connsiteY111" fmla="*/ 4078640 h 6239661"/>
                <a:gd name="connsiteX112" fmla="*/ 4863972 w 5187198"/>
                <a:gd name="connsiteY112" fmla="*/ 4047790 h 6239661"/>
                <a:gd name="connsiteX113" fmla="*/ 4874144 w 5187198"/>
                <a:gd name="connsiteY113" fmla="*/ 4016320 h 6239661"/>
                <a:gd name="connsiteX114" fmla="*/ 4884127 w 5187198"/>
                <a:gd name="connsiteY114" fmla="*/ 3984682 h 6239661"/>
                <a:gd name="connsiteX115" fmla="*/ 4892800 w 5187198"/>
                <a:gd name="connsiteY115" fmla="*/ 3951883 h 6239661"/>
                <a:gd name="connsiteX116" fmla="*/ 4909526 w 5187198"/>
                <a:gd name="connsiteY116" fmla="*/ 3886001 h 6239661"/>
                <a:gd name="connsiteX117" fmla="*/ 4917687 w 5187198"/>
                <a:gd name="connsiteY117" fmla="*/ 3852948 h 6239661"/>
                <a:gd name="connsiteX118" fmla="*/ 4921768 w 5187198"/>
                <a:gd name="connsiteY118" fmla="*/ 3836422 h 6239661"/>
                <a:gd name="connsiteX119" fmla="*/ 4924845 w 5187198"/>
                <a:gd name="connsiteY119" fmla="*/ 3819742 h 6239661"/>
                <a:gd name="connsiteX120" fmla="*/ 4948230 w 5187198"/>
                <a:gd name="connsiteY120" fmla="*/ 3685744 h 6239661"/>
                <a:gd name="connsiteX121" fmla="*/ 4962782 w 5187198"/>
                <a:gd name="connsiteY121" fmla="*/ 3550540 h 6239661"/>
                <a:gd name="connsiteX122" fmla="*/ 4939468 w 5187198"/>
                <a:gd name="connsiteY122" fmla="*/ 3010249 h 6239661"/>
                <a:gd name="connsiteX123" fmla="*/ 4816901 w 5187198"/>
                <a:gd name="connsiteY123" fmla="*/ 2488224 h 6239661"/>
                <a:gd name="connsiteX124" fmla="*/ 4797005 w 5187198"/>
                <a:gd name="connsiteY124" fmla="*/ 2424470 h 6239661"/>
                <a:gd name="connsiteX125" fmla="*/ 4774433 w 5187198"/>
                <a:gd name="connsiteY125" fmla="*/ 2361620 h 6239661"/>
                <a:gd name="connsiteX126" fmla="*/ 4752459 w 5187198"/>
                <a:gd name="connsiteY126" fmla="*/ 2298700 h 6239661"/>
                <a:gd name="connsiteX127" fmla="*/ 4728083 w 5187198"/>
                <a:gd name="connsiteY127" fmla="*/ 2236526 h 6239661"/>
                <a:gd name="connsiteX128" fmla="*/ 4704471 w 5187198"/>
                <a:gd name="connsiteY128" fmla="*/ 2174095 h 6239661"/>
                <a:gd name="connsiteX129" fmla="*/ 4678399 w 5187198"/>
                <a:gd name="connsiteY129" fmla="*/ 2112626 h 6239661"/>
                <a:gd name="connsiteX130" fmla="*/ 4652601 w 5187198"/>
                <a:gd name="connsiteY130" fmla="*/ 2050999 h 6239661"/>
                <a:gd name="connsiteX131" fmla="*/ 4624205 w 5187198"/>
                <a:gd name="connsiteY131" fmla="*/ 1990415 h 6239661"/>
                <a:gd name="connsiteX132" fmla="*/ 4595398 w 5187198"/>
                <a:gd name="connsiteY132" fmla="*/ 1930069 h 6239661"/>
                <a:gd name="connsiteX133" fmla="*/ 4563827 w 5187198"/>
                <a:gd name="connsiteY133" fmla="*/ 1870952 h 6239661"/>
                <a:gd name="connsiteX134" fmla="*/ 4531433 w 5187198"/>
                <a:gd name="connsiteY134" fmla="*/ 1812311 h 6239661"/>
                <a:gd name="connsiteX135" fmla="*/ 4523315 w 5187198"/>
                <a:gd name="connsiteY135" fmla="*/ 1797616 h 6239661"/>
                <a:gd name="connsiteX136" fmla="*/ 4514482 w 5187198"/>
                <a:gd name="connsiteY136" fmla="*/ 1783425 h 6239661"/>
                <a:gd name="connsiteX137" fmla="*/ 4496845 w 5187198"/>
                <a:gd name="connsiteY137" fmla="*/ 1754936 h 6239661"/>
                <a:gd name="connsiteX138" fmla="*/ 4461463 w 5187198"/>
                <a:gd name="connsiteY138" fmla="*/ 1697929 h 6239661"/>
                <a:gd name="connsiteX139" fmla="*/ 4452660 w 5187198"/>
                <a:gd name="connsiteY139" fmla="*/ 1683629 h 6239661"/>
                <a:gd name="connsiteX140" fmla="*/ 4443141 w 5187198"/>
                <a:gd name="connsiteY140" fmla="*/ 1669834 h 6239661"/>
                <a:gd name="connsiteX141" fmla="*/ 4424241 w 5187198"/>
                <a:gd name="connsiteY141" fmla="*/ 1642166 h 6239661"/>
                <a:gd name="connsiteX142" fmla="*/ 4346886 w 5187198"/>
                <a:gd name="connsiteY142" fmla="*/ 1532412 h 6239661"/>
                <a:gd name="connsiteX143" fmla="*/ 3985497 w 5187198"/>
                <a:gd name="connsiteY143" fmla="*/ 1134649 h 6239661"/>
                <a:gd name="connsiteX144" fmla="*/ 3545665 w 5187198"/>
                <a:gd name="connsiteY144" fmla="*/ 825877 h 6239661"/>
                <a:gd name="connsiteX145" fmla="*/ 3486190 w 5187198"/>
                <a:gd name="connsiteY145" fmla="*/ 794756 h 6239661"/>
                <a:gd name="connsiteX146" fmla="*/ 3426182 w 5187198"/>
                <a:gd name="connsiteY146" fmla="*/ 764765 h 6239661"/>
                <a:gd name="connsiteX147" fmla="*/ 3365044 w 5187198"/>
                <a:gd name="connsiteY147" fmla="*/ 737255 h 6239661"/>
                <a:gd name="connsiteX148" fmla="*/ 3334529 w 5187198"/>
                <a:gd name="connsiteY148" fmla="*/ 723514 h 6239661"/>
                <a:gd name="connsiteX149" fmla="*/ 3303733 w 5187198"/>
                <a:gd name="connsiteY149" fmla="*/ 710395 h 6239661"/>
                <a:gd name="connsiteX150" fmla="*/ 3179033 w 5187198"/>
                <a:gd name="connsiteY150" fmla="*/ 662259 h 6239661"/>
                <a:gd name="connsiteX151" fmla="*/ 3052408 w 5187198"/>
                <a:gd name="connsiteY151" fmla="*/ 620447 h 6239661"/>
                <a:gd name="connsiteX152" fmla="*/ 2924325 w 5187198"/>
                <a:gd name="connsiteY152" fmla="*/ 584505 h 6239661"/>
                <a:gd name="connsiteX153" fmla="*/ 2859667 w 5187198"/>
                <a:gd name="connsiteY153" fmla="*/ 569266 h 6239661"/>
                <a:gd name="connsiteX154" fmla="*/ 2795226 w 5187198"/>
                <a:gd name="connsiteY154" fmla="*/ 554085 h 6239661"/>
                <a:gd name="connsiteX155" fmla="*/ 2729702 w 5187198"/>
                <a:gd name="connsiteY155" fmla="*/ 540354 h 6239661"/>
                <a:gd name="connsiteX156" fmla="*/ 2663758 w 5187198"/>
                <a:gd name="connsiteY156" fmla="*/ 527322 h 6239661"/>
                <a:gd name="connsiteX157" fmla="*/ 2630927 w 5187198"/>
                <a:gd name="connsiteY157" fmla="*/ 520495 h 6239661"/>
                <a:gd name="connsiteX158" fmla="*/ 2597965 w 5187198"/>
                <a:gd name="connsiteY158" fmla="*/ 515024 h 6239661"/>
                <a:gd name="connsiteX159" fmla="*/ 2532205 w 5187198"/>
                <a:gd name="connsiteY159" fmla="*/ 503895 h 6239661"/>
                <a:gd name="connsiteX160" fmla="*/ 2010064 w 5187198"/>
                <a:gd name="connsiteY160" fmla="*/ 452552 h 6239661"/>
                <a:gd name="connsiteX161" fmla="*/ 1494552 w 5187198"/>
                <a:gd name="connsiteY161" fmla="*/ 485055 h 6239661"/>
                <a:gd name="connsiteX162" fmla="*/ 1366896 w 5187198"/>
                <a:gd name="connsiteY162" fmla="*/ 509389 h 6239661"/>
                <a:gd name="connsiteX163" fmla="*/ 1240175 w 5187198"/>
                <a:gd name="connsiteY163" fmla="*/ 541045 h 6239661"/>
                <a:gd name="connsiteX164" fmla="*/ 1177438 w 5187198"/>
                <a:gd name="connsiteY164" fmla="*/ 560170 h 6239661"/>
                <a:gd name="connsiteX165" fmla="*/ 1145987 w 5187198"/>
                <a:gd name="connsiteY165" fmla="*/ 569826 h 6239661"/>
                <a:gd name="connsiteX166" fmla="*/ 1130315 w 5187198"/>
                <a:gd name="connsiteY166" fmla="*/ 574669 h 6239661"/>
                <a:gd name="connsiteX167" fmla="*/ 1114873 w 5187198"/>
                <a:gd name="connsiteY167" fmla="*/ 580384 h 6239661"/>
                <a:gd name="connsiteX168" fmla="*/ 1052839 w 5187198"/>
                <a:gd name="connsiteY168" fmla="*/ 602943 h 6239661"/>
                <a:gd name="connsiteX169" fmla="*/ 991135 w 5187198"/>
                <a:gd name="connsiteY169" fmla="*/ 626866 h 6239661"/>
                <a:gd name="connsiteX170" fmla="*/ 930179 w 5187198"/>
                <a:gd name="connsiteY170" fmla="*/ 653191 h 6239661"/>
                <a:gd name="connsiteX171" fmla="*/ 869768 w 5187198"/>
                <a:gd name="connsiteY171" fmla="*/ 680937 h 6239661"/>
                <a:gd name="connsiteX172" fmla="*/ 810085 w 5187198"/>
                <a:gd name="connsiteY172" fmla="*/ 710734 h 6239661"/>
                <a:gd name="connsiteX173" fmla="*/ 751220 w 5187198"/>
                <a:gd name="connsiteY173" fmla="*/ 741794 h 6239661"/>
                <a:gd name="connsiteX174" fmla="*/ 532669 w 5187198"/>
                <a:gd name="connsiteY174" fmla="*/ 881688 h 6239661"/>
                <a:gd name="connsiteX175" fmla="*/ 354185 w 5187198"/>
                <a:gd name="connsiteY175" fmla="*/ 1050286 h 6239661"/>
                <a:gd name="connsiteX176" fmla="*/ 315980 w 5187198"/>
                <a:gd name="connsiteY176" fmla="*/ 1098125 h 6239661"/>
                <a:gd name="connsiteX177" fmla="*/ 280345 w 5187198"/>
                <a:gd name="connsiteY177" fmla="*/ 1149782 h 6239661"/>
                <a:gd name="connsiteX178" fmla="*/ 245890 w 5187198"/>
                <a:gd name="connsiteY178" fmla="*/ 1203959 h 6239661"/>
                <a:gd name="connsiteX179" fmla="*/ 212162 w 5187198"/>
                <a:gd name="connsiteY179" fmla="*/ 1260184 h 6239661"/>
                <a:gd name="connsiteX180" fmla="*/ 80716 w 5187198"/>
                <a:gd name="connsiteY180" fmla="*/ 1502476 h 6239661"/>
                <a:gd name="connsiteX181" fmla="*/ 0 w 5187198"/>
                <a:gd name="connsiteY181" fmla="*/ 1648841 h 6239661"/>
                <a:gd name="connsiteX182" fmla="*/ 0 w 5187198"/>
                <a:gd name="connsiteY182" fmla="*/ 954863 h 6239661"/>
                <a:gd name="connsiteX183" fmla="*/ 43491 w 5187198"/>
                <a:gd name="connsiteY183" fmla="*/ 895513 h 6239661"/>
                <a:gd name="connsiteX184" fmla="*/ 93923 w 5187198"/>
                <a:gd name="connsiteY184" fmla="*/ 834489 h 6239661"/>
                <a:gd name="connsiteX185" fmla="*/ 323465 w 5187198"/>
                <a:gd name="connsiteY185" fmla="*/ 617671 h 6239661"/>
                <a:gd name="connsiteX186" fmla="*/ 574777 w 5187198"/>
                <a:gd name="connsiteY186" fmla="*/ 446794 h 6239661"/>
                <a:gd name="connsiteX187" fmla="*/ 638943 w 5187198"/>
                <a:gd name="connsiteY187" fmla="*/ 408925 h 6239661"/>
                <a:gd name="connsiteX188" fmla="*/ 703505 w 5187198"/>
                <a:gd name="connsiteY188" fmla="*/ 371742 h 6239661"/>
                <a:gd name="connsiteX189" fmla="*/ 769262 w 5187198"/>
                <a:gd name="connsiteY189" fmla="*/ 336154 h 6239661"/>
                <a:gd name="connsiteX190" fmla="*/ 835552 w 5187198"/>
                <a:gd name="connsiteY190" fmla="*/ 301173 h 6239661"/>
                <a:gd name="connsiteX191" fmla="*/ 902979 w 5187198"/>
                <a:gd name="connsiteY191" fmla="*/ 268004 h 6239661"/>
                <a:gd name="connsiteX192" fmla="*/ 971127 w 5187198"/>
                <a:gd name="connsiteY192" fmla="*/ 235607 h 6239661"/>
                <a:gd name="connsiteX193" fmla="*/ 988238 w 5187198"/>
                <a:gd name="connsiteY193" fmla="*/ 227556 h 6239661"/>
                <a:gd name="connsiteX194" fmla="*/ 1005744 w 5187198"/>
                <a:gd name="connsiteY194" fmla="*/ 220191 h 6239661"/>
                <a:gd name="connsiteX195" fmla="*/ 1040729 w 5187198"/>
                <a:gd name="connsiteY195" fmla="*/ 205569 h 6239661"/>
                <a:gd name="connsiteX196" fmla="*/ 1110835 w 5187198"/>
                <a:gd name="connsiteY196" fmla="*/ 176248 h 6239661"/>
                <a:gd name="connsiteX197" fmla="*/ 1254256 w 5187198"/>
                <a:gd name="connsiteY197" fmla="*/ 123796 h 6239661"/>
                <a:gd name="connsiteX198" fmla="*/ 1401310 w 5187198"/>
                <a:gd name="connsiteY198" fmla="*/ 79852 h 6239661"/>
                <a:gd name="connsiteX199" fmla="*/ 2011811 w 5187198"/>
                <a:gd name="connsiteY199" fmla="*/ 4 h 62396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</a:cxnLst>
              <a:rect l="l" t="t" r="r" b="b"/>
              <a:pathLst>
                <a:path w="5187198" h="6239661">
                  <a:moveTo>
                    <a:pt x="2011811" y="4"/>
                  </a:moveTo>
                  <a:cubicBezTo>
                    <a:pt x="2217306" y="120"/>
                    <a:pt x="2420903" y="25925"/>
                    <a:pt x="2617011" y="70590"/>
                  </a:cubicBezTo>
                  <a:lnTo>
                    <a:pt x="2690321" y="88146"/>
                  </a:lnTo>
                  <a:lnTo>
                    <a:pt x="2726863" y="97127"/>
                  </a:lnTo>
                  <a:lnTo>
                    <a:pt x="2762951" y="107375"/>
                  </a:lnTo>
                  <a:lnTo>
                    <a:pt x="2834843" y="128493"/>
                  </a:lnTo>
                  <a:cubicBezTo>
                    <a:pt x="2858788" y="135605"/>
                    <a:pt x="2882632" y="142226"/>
                    <a:pt x="2906574" y="151076"/>
                  </a:cubicBezTo>
                  <a:cubicBezTo>
                    <a:pt x="2954475" y="167852"/>
                    <a:pt x="3002363" y="183813"/>
                    <a:pt x="3049504" y="202124"/>
                  </a:cubicBezTo>
                  <a:lnTo>
                    <a:pt x="3189518" y="260159"/>
                  </a:lnTo>
                  <a:lnTo>
                    <a:pt x="3326048" y="325143"/>
                  </a:lnTo>
                  <a:cubicBezTo>
                    <a:pt x="3370687" y="348464"/>
                    <a:pt x="3414908" y="372485"/>
                    <a:pt x="3459166" y="395936"/>
                  </a:cubicBezTo>
                  <a:cubicBezTo>
                    <a:pt x="3502947" y="420302"/>
                    <a:pt x="3545491" y="447118"/>
                    <a:pt x="3588578" y="472343"/>
                  </a:cubicBezTo>
                  <a:cubicBezTo>
                    <a:pt x="3610346" y="484551"/>
                    <a:pt x="3630797" y="499072"/>
                    <a:pt x="3651864" y="512600"/>
                  </a:cubicBezTo>
                  <a:lnTo>
                    <a:pt x="3714514" y="553499"/>
                  </a:lnTo>
                  <a:cubicBezTo>
                    <a:pt x="3880005" y="664844"/>
                    <a:pt x="4036083" y="788388"/>
                    <a:pt x="4181221" y="922912"/>
                  </a:cubicBezTo>
                  <a:cubicBezTo>
                    <a:pt x="4326221" y="1057515"/>
                    <a:pt x="4461955" y="1202038"/>
                    <a:pt x="4582963" y="1358264"/>
                  </a:cubicBezTo>
                  <a:cubicBezTo>
                    <a:pt x="4614206" y="1396543"/>
                    <a:pt x="4642091" y="1437400"/>
                    <a:pt x="4670721" y="1477644"/>
                  </a:cubicBezTo>
                  <a:cubicBezTo>
                    <a:pt x="4700172" y="1517414"/>
                    <a:pt x="4725864" y="1559538"/>
                    <a:pt x="4752378" y="1601187"/>
                  </a:cubicBezTo>
                  <a:lnTo>
                    <a:pt x="4772168" y="1632456"/>
                  </a:lnTo>
                  <a:lnTo>
                    <a:pt x="4782117" y="1648104"/>
                  </a:lnTo>
                  <a:lnTo>
                    <a:pt x="4791381" y="1664150"/>
                  </a:lnTo>
                  <a:lnTo>
                    <a:pt x="4828190" y="1728379"/>
                  </a:lnTo>
                  <a:cubicBezTo>
                    <a:pt x="4840266" y="1749930"/>
                    <a:pt x="4853470" y="1770740"/>
                    <a:pt x="4864832" y="1792796"/>
                  </a:cubicBezTo>
                  <a:lnTo>
                    <a:pt x="4899201" y="1858342"/>
                  </a:lnTo>
                  <a:cubicBezTo>
                    <a:pt x="4910484" y="1880260"/>
                    <a:pt x="4922532" y="1901920"/>
                    <a:pt x="4933266" y="1924155"/>
                  </a:cubicBezTo>
                  <a:lnTo>
                    <a:pt x="4964403" y="1991384"/>
                  </a:lnTo>
                  <a:cubicBezTo>
                    <a:pt x="4974618" y="2013829"/>
                    <a:pt x="4985323" y="2036171"/>
                    <a:pt x="4995019" y="2058823"/>
                  </a:cubicBezTo>
                  <a:lnTo>
                    <a:pt x="5021999" y="2127723"/>
                  </a:lnTo>
                  <a:lnTo>
                    <a:pt x="5048321" y="2196908"/>
                  </a:lnTo>
                  <a:lnTo>
                    <a:pt x="5070546" y="2267547"/>
                  </a:lnTo>
                  <a:cubicBezTo>
                    <a:pt x="5078054" y="2291004"/>
                    <a:pt x="5085044" y="2314670"/>
                    <a:pt x="5092171" y="2338256"/>
                  </a:cubicBezTo>
                  <a:cubicBezTo>
                    <a:pt x="5098670" y="2362023"/>
                    <a:pt x="5104296" y="2386019"/>
                    <a:pt x="5110305" y="2409886"/>
                  </a:cubicBezTo>
                  <a:cubicBezTo>
                    <a:pt x="5158097" y="2600976"/>
                    <a:pt x="5182068" y="2797044"/>
                    <a:pt x="5186393" y="2992022"/>
                  </a:cubicBezTo>
                  <a:cubicBezTo>
                    <a:pt x="5191013" y="3187195"/>
                    <a:pt x="5175397" y="3380886"/>
                    <a:pt x="5149045" y="3571816"/>
                  </a:cubicBezTo>
                  <a:cubicBezTo>
                    <a:pt x="5141154" y="3619431"/>
                    <a:pt x="5133539" y="3666889"/>
                    <a:pt x="5126572" y="3714520"/>
                  </a:cubicBezTo>
                  <a:cubicBezTo>
                    <a:pt x="5117276" y="3761759"/>
                    <a:pt x="5107793" y="3808831"/>
                    <a:pt x="5099067" y="3856108"/>
                  </a:cubicBezTo>
                  <a:lnTo>
                    <a:pt x="5095699" y="3873868"/>
                  </a:lnTo>
                  <a:lnTo>
                    <a:pt x="5091573" y="3891426"/>
                  </a:lnTo>
                  <a:lnTo>
                    <a:pt x="5083324" y="3926541"/>
                  </a:lnTo>
                  <a:lnTo>
                    <a:pt x="5067256" y="3996889"/>
                  </a:lnTo>
                  <a:cubicBezTo>
                    <a:pt x="5064451" y="4008657"/>
                    <a:pt x="5062244" y="4020353"/>
                    <a:pt x="5059194" y="4032171"/>
                  </a:cubicBezTo>
                  <a:lnTo>
                    <a:pt x="5049522" y="4067833"/>
                  </a:lnTo>
                  <a:lnTo>
                    <a:pt x="5040067" y="4103553"/>
                  </a:lnTo>
                  <a:cubicBezTo>
                    <a:pt x="5036554" y="4115363"/>
                    <a:pt x="5032689" y="4127194"/>
                    <a:pt x="5028960" y="4138946"/>
                  </a:cubicBezTo>
                  <a:cubicBezTo>
                    <a:pt x="4999693" y="4233462"/>
                    <a:pt x="4962869" y="4326764"/>
                    <a:pt x="4917351" y="4417041"/>
                  </a:cubicBezTo>
                  <a:cubicBezTo>
                    <a:pt x="4871860" y="4507209"/>
                    <a:pt x="4817597" y="4594215"/>
                    <a:pt x="4756163" y="4676402"/>
                  </a:cubicBezTo>
                  <a:cubicBezTo>
                    <a:pt x="4632803" y="4840875"/>
                    <a:pt x="4480597" y="4982783"/>
                    <a:pt x="4322493" y="5105604"/>
                  </a:cubicBezTo>
                  <a:cubicBezTo>
                    <a:pt x="4163928" y="5228420"/>
                    <a:pt x="3999564" y="5332640"/>
                    <a:pt x="3840510" y="5429590"/>
                  </a:cubicBezTo>
                  <a:cubicBezTo>
                    <a:pt x="3760954" y="5478172"/>
                    <a:pt x="3682353" y="5524924"/>
                    <a:pt x="3606447" y="5572862"/>
                  </a:cubicBezTo>
                  <a:lnTo>
                    <a:pt x="3488814" y="5647178"/>
                  </a:lnTo>
                  <a:cubicBezTo>
                    <a:pt x="3448270" y="5672597"/>
                    <a:pt x="3407323" y="5697792"/>
                    <a:pt x="3365864" y="5722735"/>
                  </a:cubicBezTo>
                  <a:cubicBezTo>
                    <a:pt x="3200163" y="5822424"/>
                    <a:pt x="3026125" y="5917328"/>
                    <a:pt x="2839486" y="5999120"/>
                  </a:cubicBezTo>
                  <a:cubicBezTo>
                    <a:pt x="2653201" y="6080891"/>
                    <a:pt x="2453560" y="6149344"/>
                    <a:pt x="2242423" y="6192346"/>
                  </a:cubicBezTo>
                  <a:cubicBezTo>
                    <a:pt x="2031719" y="6235463"/>
                    <a:pt x="1808952" y="6251353"/>
                    <a:pt x="1589380" y="6230657"/>
                  </a:cubicBezTo>
                  <a:lnTo>
                    <a:pt x="1548244" y="6226706"/>
                  </a:lnTo>
                  <a:cubicBezTo>
                    <a:pt x="1534528" y="6225117"/>
                    <a:pt x="1520898" y="6223203"/>
                    <a:pt x="1507348" y="6221428"/>
                  </a:cubicBezTo>
                  <a:lnTo>
                    <a:pt x="1466401" y="6215904"/>
                  </a:lnTo>
                  <a:cubicBezTo>
                    <a:pt x="1452772" y="6213991"/>
                    <a:pt x="1439316" y="6211428"/>
                    <a:pt x="1425773" y="6209191"/>
                  </a:cubicBezTo>
                  <a:cubicBezTo>
                    <a:pt x="1398775" y="6204391"/>
                    <a:pt x="1371610" y="6199779"/>
                    <a:pt x="1344960" y="6193681"/>
                  </a:cubicBezTo>
                  <a:cubicBezTo>
                    <a:pt x="1318251" y="6187799"/>
                    <a:pt x="1291260" y="6182538"/>
                    <a:pt x="1265007" y="6175388"/>
                  </a:cubicBezTo>
                  <a:lnTo>
                    <a:pt x="1225415" y="6165243"/>
                  </a:lnTo>
                  <a:cubicBezTo>
                    <a:pt x="1212163" y="6161924"/>
                    <a:pt x="1198939" y="6158496"/>
                    <a:pt x="1186567" y="6154486"/>
                  </a:cubicBezTo>
                  <a:lnTo>
                    <a:pt x="1111158" y="6130918"/>
                  </a:lnTo>
                  <a:lnTo>
                    <a:pt x="1035915" y="6107163"/>
                  </a:lnTo>
                  <a:cubicBezTo>
                    <a:pt x="1010846" y="6099055"/>
                    <a:pt x="986357" y="6088784"/>
                    <a:pt x="961579" y="6079594"/>
                  </a:cubicBezTo>
                  <a:cubicBezTo>
                    <a:pt x="763709" y="6005594"/>
                    <a:pt x="572401" y="5909703"/>
                    <a:pt x="395297" y="5792812"/>
                  </a:cubicBezTo>
                  <a:lnTo>
                    <a:pt x="265239" y="5701511"/>
                  </a:lnTo>
                  <a:cubicBezTo>
                    <a:pt x="254227" y="5694155"/>
                    <a:pt x="244103" y="5685646"/>
                    <a:pt x="233756" y="5677542"/>
                  </a:cubicBezTo>
                  <a:lnTo>
                    <a:pt x="202800" y="5652902"/>
                  </a:lnTo>
                  <a:lnTo>
                    <a:pt x="140918" y="5603515"/>
                  </a:lnTo>
                  <a:cubicBezTo>
                    <a:pt x="130598" y="5595302"/>
                    <a:pt x="120280" y="5587089"/>
                    <a:pt x="110625" y="5578127"/>
                  </a:cubicBezTo>
                  <a:cubicBezTo>
                    <a:pt x="105647" y="5573779"/>
                    <a:pt x="100444" y="5569834"/>
                    <a:pt x="95631" y="5565299"/>
                  </a:cubicBezTo>
                  <a:cubicBezTo>
                    <a:pt x="90955" y="5560684"/>
                    <a:pt x="86505" y="5555666"/>
                    <a:pt x="81966" y="5550973"/>
                  </a:cubicBezTo>
                  <a:lnTo>
                    <a:pt x="27991" y="5493272"/>
                  </a:lnTo>
                  <a:cubicBezTo>
                    <a:pt x="19109" y="5483589"/>
                    <a:pt x="9758" y="5474359"/>
                    <a:pt x="1454" y="5464252"/>
                  </a:cubicBezTo>
                  <a:lnTo>
                    <a:pt x="0" y="5462518"/>
                  </a:lnTo>
                  <a:lnTo>
                    <a:pt x="0" y="4720187"/>
                  </a:lnTo>
                  <a:lnTo>
                    <a:pt x="109684" y="4836724"/>
                  </a:lnTo>
                  <a:cubicBezTo>
                    <a:pt x="173316" y="4897375"/>
                    <a:pt x="239447" y="4954160"/>
                    <a:pt x="306959" y="5007200"/>
                  </a:cubicBezTo>
                  <a:lnTo>
                    <a:pt x="358101" y="5046057"/>
                  </a:lnTo>
                  <a:lnTo>
                    <a:pt x="383328" y="5065684"/>
                  </a:lnTo>
                  <a:cubicBezTo>
                    <a:pt x="391637" y="5072316"/>
                    <a:pt x="400805" y="5077902"/>
                    <a:pt x="409503" y="5083942"/>
                  </a:cubicBezTo>
                  <a:lnTo>
                    <a:pt x="461889" y="5119888"/>
                  </a:lnTo>
                  <a:cubicBezTo>
                    <a:pt x="466184" y="5122893"/>
                    <a:pt x="470616" y="5125820"/>
                    <a:pt x="474883" y="5128933"/>
                  </a:cubicBezTo>
                  <a:cubicBezTo>
                    <a:pt x="478982" y="5132235"/>
                    <a:pt x="482476" y="5136069"/>
                    <a:pt x="486410" y="5139557"/>
                  </a:cubicBezTo>
                  <a:cubicBezTo>
                    <a:pt x="494140" y="5146613"/>
                    <a:pt x="502565" y="5152812"/>
                    <a:pt x="510852" y="5159089"/>
                  </a:cubicBezTo>
                  <a:lnTo>
                    <a:pt x="560653" y="5196893"/>
                  </a:lnTo>
                  <a:lnTo>
                    <a:pt x="585485" y="5215834"/>
                  </a:lnTo>
                  <a:cubicBezTo>
                    <a:pt x="593773" y="5222111"/>
                    <a:pt x="601864" y="5228685"/>
                    <a:pt x="610707" y="5234185"/>
                  </a:cubicBezTo>
                  <a:lnTo>
                    <a:pt x="714768" y="5303103"/>
                  </a:lnTo>
                  <a:cubicBezTo>
                    <a:pt x="856162" y="5390603"/>
                    <a:pt x="1008099" y="5459947"/>
                    <a:pt x="1166634" y="5513322"/>
                  </a:cubicBezTo>
                  <a:cubicBezTo>
                    <a:pt x="1186540" y="5519932"/>
                    <a:pt x="1205774" y="5527751"/>
                    <a:pt x="1225991" y="5533632"/>
                  </a:cubicBezTo>
                  <a:lnTo>
                    <a:pt x="1286680" y="5550705"/>
                  </a:lnTo>
                  <a:lnTo>
                    <a:pt x="1347310" y="5567995"/>
                  </a:lnTo>
                  <a:cubicBezTo>
                    <a:pt x="1357469" y="5571180"/>
                    <a:pt x="1367261" y="5573572"/>
                    <a:pt x="1377002" y="5575719"/>
                  </a:cubicBezTo>
                  <a:lnTo>
                    <a:pt x="1406328" y="5582649"/>
                  </a:lnTo>
                  <a:cubicBezTo>
                    <a:pt x="1425825" y="5587757"/>
                    <a:pt x="1445490" y="5590939"/>
                    <a:pt x="1465060" y="5594909"/>
                  </a:cubicBezTo>
                  <a:cubicBezTo>
                    <a:pt x="1484652" y="5599231"/>
                    <a:pt x="1504324" y="5601952"/>
                    <a:pt x="1523881" y="5605105"/>
                  </a:cubicBezTo>
                  <a:cubicBezTo>
                    <a:pt x="1533660" y="5606682"/>
                    <a:pt x="1543460" y="5608613"/>
                    <a:pt x="1553325" y="5609865"/>
                  </a:cubicBezTo>
                  <a:lnTo>
                    <a:pt x="1582813" y="5613593"/>
                  </a:lnTo>
                  <a:lnTo>
                    <a:pt x="1612301" y="5617321"/>
                  </a:lnTo>
                  <a:lnTo>
                    <a:pt x="1641863" y="5619910"/>
                  </a:lnTo>
                  <a:cubicBezTo>
                    <a:pt x="1799348" y="5633940"/>
                    <a:pt x="1957913" y="5625770"/>
                    <a:pt x="2117508" y="5595156"/>
                  </a:cubicBezTo>
                  <a:cubicBezTo>
                    <a:pt x="2277124" y="5564895"/>
                    <a:pt x="2437004" y="5512449"/>
                    <a:pt x="2597368" y="5447381"/>
                  </a:cubicBezTo>
                  <a:cubicBezTo>
                    <a:pt x="2757791" y="5382096"/>
                    <a:pt x="2918855" y="5304464"/>
                    <a:pt x="3082968" y="5223245"/>
                  </a:cubicBezTo>
                  <a:lnTo>
                    <a:pt x="3334855" y="5097383"/>
                  </a:lnTo>
                  <a:cubicBezTo>
                    <a:pt x="3423528" y="5054142"/>
                    <a:pt x="3511773" y="5013798"/>
                    <a:pt x="3599509" y="4976217"/>
                  </a:cubicBezTo>
                  <a:cubicBezTo>
                    <a:pt x="3774960" y="4900701"/>
                    <a:pt x="3948276" y="4837481"/>
                    <a:pt x="4112002" y="4766359"/>
                  </a:cubicBezTo>
                  <a:cubicBezTo>
                    <a:pt x="4193972" y="4730827"/>
                    <a:pt x="4273429" y="4692997"/>
                    <a:pt x="4348983" y="4649833"/>
                  </a:cubicBezTo>
                  <a:cubicBezTo>
                    <a:pt x="4424508" y="4606778"/>
                    <a:pt x="4496050" y="4558250"/>
                    <a:pt x="4560505" y="4501564"/>
                  </a:cubicBezTo>
                  <a:cubicBezTo>
                    <a:pt x="4625198" y="4445289"/>
                    <a:pt x="4682991" y="4381021"/>
                    <a:pt x="4731963" y="4309870"/>
                  </a:cubicBezTo>
                  <a:cubicBezTo>
                    <a:pt x="4781043" y="4238747"/>
                    <a:pt x="4821275" y="4160848"/>
                    <a:pt x="4852344" y="4078640"/>
                  </a:cubicBezTo>
                  <a:lnTo>
                    <a:pt x="4863972" y="4047790"/>
                  </a:lnTo>
                  <a:lnTo>
                    <a:pt x="4874144" y="4016320"/>
                  </a:lnTo>
                  <a:lnTo>
                    <a:pt x="4884127" y="3984682"/>
                  </a:lnTo>
                  <a:cubicBezTo>
                    <a:pt x="4887242" y="3973925"/>
                    <a:pt x="4889981" y="3962835"/>
                    <a:pt x="4892800" y="3951883"/>
                  </a:cubicBezTo>
                  <a:lnTo>
                    <a:pt x="4909526" y="3886001"/>
                  </a:lnTo>
                  <a:lnTo>
                    <a:pt x="4917687" y="3852948"/>
                  </a:lnTo>
                  <a:lnTo>
                    <a:pt x="4921768" y="3836422"/>
                  </a:lnTo>
                  <a:lnTo>
                    <a:pt x="4924845" y="3819742"/>
                  </a:lnTo>
                  <a:cubicBezTo>
                    <a:pt x="4933092" y="3775120"/>
                    <a:pt x="4941231" y="3730469"/>
                    <a:pt x="4948230" y="3685744"/>
                  </a:cubicBezTo>
                  <a:cubicBezTo>
                    <a:pt x="4953579" y="3640694"/>
                    <a:pt x="4958249" y="3595577"/>
                    <a:pt x="4962782" y="3550540"/>
                  </a:cubicBezTo>
                  <a:cubicBezTo>
                    <a:pt x="4976580" y="3369692"/>
                    <a:pt x="4965812" y="3187942"/>
                    <a:pt x="4939468" y="3010249"/>
                  </a:cubicBezTo>
                  <a:cubicBezTo>
                    <a:pt x="4912965" y="2832281"/>
                    <a:pt x="4870237" y="2658196"/>
                    <a:pt x="4816901" y="2488224"/>
                  </a:cubicBezTo>
                  <a:cubicBezTo>
                    <a:pt x="4810197" y="2466954"/>
                    <a:pt x="4803984" y="2445582"/>
                    <a:pt x="4797005" y="2424470"/>
                  </a:cubicBezTo>
                  <a:cubicBezTo>
                    <a:pt x="4789399" y="2403537"/>
                    <a:pt x="4781686" y="2382574"/>
                    <a:pt x="4774433" y="2361620"/>
                  </a:cubicBezTo>
                  <a:lnTo>
                    <a:pt x="4752459" y="2298700"/>
                  </a:lnTo>
                  <a:lnTo>
                    <a:pt x="4728083" y="2236526"/>
                  </a:lnTo>
                  <a:cubicBezTo>
                    <a:pt x="4719957" y="2215802"/>
                    <a:pt x="4712352" y="2194869"/>
                    <a:pt x="4704471" y="2174095"/>
                  </a:cubicBezTo>
                  <a:lnTo>
                    <a:pt x="4678399" y="2112626"/>
                  </a:lnTo>
                  <a:lnTo>
                    <a:pt x="4652601" y="2050999"/>
                  </a:lnTo>
                  <a:cubicBezTo>
                    <a:pt x="4643711" y="2030533"/>
                    <a:pt x="4633616" y="2010672"/>
                    <a:pt x="4624205" y="1990415"/>
                  </a:cubicBezTo>
                  <a:lnTo>
                    <a:pt x="4595398" y="1930069"/>
                  </a:lnTo>
                  <a:cubicBezTo>
                    <a:pt x="4585714" y="1909969"/>
                    <a:pt x="4574413" y="1890713"/>
                    <a:pt x="4563827" y="1870952"/>
                  </a:cubicBezTo>
                  <a:lnTo>
                    <a:pt x="4531433" y="1812311"/>
                  </a:lnTo>
                  <a:lnTo>
                    <a:pt x="4523315" y="1797616"/>
                  </a:lnTo>
                  <a:lnTo>
                    <a:pt x="4514482" y="1783425"/>
                  </a:lnTo>
                  <a:lnTo>
                    <a:pt x="4496845" y="1754936"/>
                  </a:lnTo>
                  <a:lnTo>
                    <a:pt x="4461463" y="1697929"/>
                  </a:lnTo>
                  <a:lnTo>
                    <a:pt x="4452660" y="1683629"/>
                  </a:lnTo>
                  <a:lnTo>
                    <a:pt x="4443141" y="1669834"/>
                  </a:lnTo>
                  <a:lnTo>
                    <a:pt x="4424241" y="1642166"/>
                  </a:lnTo>
                  <a:cubicBezTo>
                    <a:pt x="4399005" y="1605265"/>
                    <a:pt x="4374512" y="1567751"/>
                    <a:pt x="4346886" y="1532412"/>
                  </a:cubicBezTo>
                  <a:cubicBezTo>
                    <a:pt x="4240477" y="1388328"/>
                    <a:pt x="4120362" y="1253437"/>
                    <a:pt x="3985497" y="1134649"/>
                  </a:cubicBezTo>
                  <a:cubicBezTo>
                    <a:pt x="3850799" y="1015675"/>
                    <a:pt x="3702920" y="911715"/>
                    <a:pt x="3545665" y="825877"/>
                  </a:cubicBezTo>
                  <a:lnTo>
                    <a:pt x="3486190" y="794756"/>
                  </a:lnTo>
                  <a:cubicBezTo>
                    <a:pt x="3466181" y="784640"/>
                    <a:pt x="3446893" y="773560"/>
                    <a:pt x="3426182" y="764765"/>
                  </a:cubicBezTo>
                  <a:lnTo>
                    <a:pt x="3365044" y="737255"/>
                  </a:lnTo>
                  <a:lnTo>
                    <a:pt x="3334529" y="723514"/>
                  </a:lnTo>
                  <a:cubicBezTo>
                    <a:pt x="3324394" y="718943"/>
                    <a:pt x="3314287" y="714265"/>
                    <a:pt x="3303733" y="710395"/>
                  </a:cubicBezTo>
                  <a:cubicBezTo>
                    <a:pt x="3262013" y="694346"/>
                    <a:pt x="3220711" y="677599"/>
                    <a:pt x="3179033" y="662259"/>
                  </a:cubicBezTo>
                  <a:lnTo>
                    <a:pt x="3052408" y="620447"/>
                  </a:lnTo>
                  <a:lnTo>
                    <a:pt x="2924325" y="584505"/>
                  </a:lnTo>
                  <a:cubicBezTo>
                    <a:pt x="2903106" y="578471"/>
                    <a:pt x="2881119" y="574434"/>
                    <a:pt x="2859667" y="569266"/>
                  </a:cubicBezTo>
                  <a:lnTo>
                    <a:pt x="2795226" y="554085"/>
                  </a:lnTo>
                  <a:cubicBezTo>
                    <a:pt x="2774078" y="548652"/>
                    <a:pt x="2751709" y="544744"/>
                    <a:pt x="2729702" y="540354"/>
                  </a:cubicBezTo>
                  <a:lnTo>
                    <a:pt x="2663758" y="527322"/>
                  </a:lnTo>
                  <a:lnTo>
                    <a:pt x="2630927" y="520495"/>
                  </a:lnTo>
                  <a:lnTo>
                    <a:pt x="2597965" y="515024"/>
                  </a:lnTo>
                  <a:cubicBezTo>
                    <a:pt x="2575970" y="511449"/>
                    <a:pt x="2554112" y="507795"/>
                    <a:pt x="2532205" y="503895"/>
                  </a:cubicBezTo>
                  <a:cubicBezTo>
                    <a:pt x="2357016" y="475037"/>
                    <a:pt x="2182954" y="456682"/>
                    <a:pt x="2010064" y="452552"/>
                  </a:cubicBezTo>
                  <a:cubicBezTo>
                    <a:pt x="1837255" y="448558"/>
                    <a:pt x="1665388" y="457916"/>
                    <a:pt x="1494552" y="485055"/>
                  </a:cubicBezTo>
                  <a:cubicBezTo>
                    <a:pt x="1452133" y="492816"/>
                    <a:pt x="1409569" y="501117"/>
                    <a:pt x="1366896" y="509389"/>
                  </a:cubicBezTo>
                  <a:cubicBezTo>
                    <a:pt x="1324862" y="520035"/>
                    <a:pt x="1282333" y="529505"/>
                    <a:pt x="1240175" y="541045"/>
                  </a:cubicBezTo>
                  <a:lnTo>
                    <a:pt x="1177438" y="560170"/>
                  </a:lnTo>
                  <a:lnTo>
                    <a:pt x="1145987" y="569826"/>
                  </a:lnTo>
                  <a:lnTo>
                    <a:pt x="1130315" y="574669"/>
                  </a:lnTo>
                  <a:lnTo>
                    <a:pt x="1114873" y="580384"/>
                  </a:lnTo>
                  <a:lnTo>
                    <a:pt x="1052839" y="602943"/>
                  </a:lnTo>
                  <a:cubicBezTo>
                    <a:pt x="1032151" y="610499"/>
                    <a:pt x="1011255" y="617535"/>
                    <a:pt x="991135" y="626866"/>
                  </a:cubicBezTo>
                  <a:lnTo>
                    <a:pt x="930179" y="653191"/>
                  </a:lnTo>
                  <a:cubicBezTo>
                    <a:pt x="909850" y="662002"/>
                    <a:pt x="889443" y="670676"/>
                    <a:pt x="869768" y="680937"/>
                  </a:cubicBezTo>
                  <a:lnTo>
                    <a:pt x="810085" y="710734"/>
                  </a:lnTo>
                  <a:cubicBezTo>
                    <a:pt x="790331" y="720859"/>
                    <a:pt x="770124" y="730514"/>
                    <a:pt x="751220" y="741794"/>
                  </a:cubicBezTo>
                  <a:cubicBezTo>
                    <a:pt x="673929" y="784955"/>
                    <a:pt x="598827" y="830326"/>
                    <a:pt x="532669" y="881688"/>
                  </a:cubicBezTo>
                  <a:cubicBezTo>
                    <a:pt x="464226" y="931625"/>
                    <a:pt x="406969" y="988270"/>
                    <a:pt x="354185" y="1050286"/>
                  </a:cubicBezTo>
                  <a:lnTo>
                    <a:pt x="315980" y="1098125"/>
                  </a:lnTo>
                  <a:lnTo>
                    <a:pt x="280345" y="1149782"/>
                  </a:lnTo>
                  <a:cubicBezTo>
                    <a:pt x="268144" y="1166335"/>
                    <a:pt x="257438" y="1185955"/>
                    <a:pt x="245890" y="1203959"/>
                  </a:cubicBezTo>
                  <a:cubicBezTo>
                    <a:pt x="234552" y="1222481"/>
                    <a:pt x="223171" y="1240298"/>
                    <a:pt x="212162" y="1260184"/>
                  </a:cubicBezTo>
                  <a:cubicBezTo>
                    <a:pt x="168299" y="1337574"/>
                    <a:pt x="125055" y="1419360"/>
                    <a:pt x="80716" y="1502476"/>
                  </a:cubicBezTo>
                  <a:lnTo>
                    <a:pt x="0" y="1648841"/>
                  </a:lnTo>
                  <a:lnTo>
                    <a:pt x="0" y="954863"/>
                  </a:lnTo>
                  <a:lnTo>
                    <a:pt x="43491" y="895513"/>
                  </a:lnTo>
                  <a:cubicBezTo>
                    <a:pt x="59888" y="874984"/>
                    <a:pt x="77014" y="854766"/>
                    <a:pt x="93923" y="834489"/>
                  </a:cubicBezTo>
                  <a:cubicBezTo>
                    <a:pt x="163245" y="754880"/>
                    <a:pt x="240806" y="679565"/>
                    <a:pt x="323465" y="617671"/>
                  </a:cubicBezTo>
                  <a:cubicBezTo>
                    <a:pt x="405002" y="553042"/>
                    <a:pt x="490132" y="499230"/>
                    <a:pt x="574777" y="446794"/>
                  </a:cubicBezTo>
                  <a:cubicBezTo>
                    <a:pt x="595733" y="433050"/>
                    <a:pt x="617442" y="421248"/>
                    <a:pt x="638943" y="408925"/>
                  </a:cubicBezTo>
                  <a:lnTo>
                    <a:pt x="703505" y="371742"/>
                  </a:lnTo>
                  <a:cubicBezTo>
                    <a:pt x="724798" y="358900"/>
                    <a:pt x="747120" y="347842"/>
                    <a:pt x="769262" y="336154"/>
                  </a:cubicBezTo>
                  <a:lnTo>
                    <a:pt x="835552" y="301173"/>
                  </a:lnTo>
                  <a:cubicBezTo>
                    <a:pt x="857427" y="289183"/>
                    <a:pt x="880470" y="278896"/>
                    <a:pt x="902979" y="268004"/>
                  </a:cubicBezTo>
                  <a:lnTo>
                    <a:pt x="971127" y="235607"/>
                  </a:lnTo>
                  <a:lnTo>
                    <a:pt x="988238" y="227556"/>
                  </a:lnTo>
                  <a:lnTo>
                    <a:pt x="1005744" y="220191"/>
                  </a:lnTo>
                  <a:lnTo>
                    <a:pt x="1040729" y="205569"/>
                  </a:lnTo>
                  <a:lnTo>
                    <a:pt x="1110835" y="176248"/>
                  </a:lnTo>
                  <a:cubicBezTo>
                    <a:pt x="1157999" y="157703"/>
                    <a:pt x="1206322" y="141323"/>
                    <a:pt x="1254256" y="123796"/>
                  </a:cubicBezTo>
                  <a:cubicBezTo>
                    <a:pt x="1302938" y="108671"/>
                    <a:pt x="1352074" y="94017"/>
                    <a:pt x="1401310" y="79852"/>
                  </a:cubicBezTo>
                  <a:cubicBezTo>
                    <a:pt x="1599497" y="26774"/>
                    <a:pt x="1806373" y="-329"/>
                    <a:pt x="2011811" y="4"/>
                  </a:cubicBezTo>
                  <a:close/>
                </a:path>
              </a:pathLst>
            </a:custGeom>
            <a:gradFill>
              <a:gsLst>
                <a:gs pos="2000">
                  <a:schemeClr val="bg1">
                    <a:alpha val="10000"/>
                  </a:schemeClr>
                </a:gs>
                <a:gs pos="16000">
                  <a:schemeClr val="accent6">
                    <a:alpha val="10000"/>
                  </a:schemeClr>
                </a:gs>
                <a:gs pos="100000">
                  <a:schemeClr val="bg1">
                    <a:alpha val="10000"/>
                  </a:schemeClr>
                </a:gs>
                <a:gs pos="85000">
                  <a:schemeClr val="accent1">
                    <a:alpha val="10000"/>
                  </a:schemeClr>
                </a:gs>
              </a:gsLst>
              <a:lin ang="120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BF5416CC-B796-6904-5EDB-79205B8246A4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-19220" y="297400"/>
              <a:ext cx="5215811" cy="6107388"/>
            </a:xfrm>
            <a:custGeom>
              <a:avLst/>
              <a:gdLst>
                <a:gd name="connsiteX0" fmla="*/ 1869139 w 5215811"/>
                <a:gd name="connsiteY0" fmla="*/ 9 h 6107388"/>
                <a:gd name="connsiteX1" fmla="*/ 2791149 w 5215811"/>
                <a:gd name="connsiteY1" fmla="*/ 130229 h 6107388"/>
                <a:gd name="connsiteX2" fmla="*/ 4760307 w 5215811"/>
                <a:gd name="connsiteY2" fmla="*/ 1608408 h 6107388"/>
                <a:gd name="connsiteX3" fmla="*/ 5108574 w 5215811"/>
                <a:gd name="connsiteY3" fmla="*/ 4050383 h 6107388"/>
                <a:gd name="connsiteX4" fmla="*/ 3434916 w 5215811"/>
                <a:gd name="connsiteY4" fmla="*/ 5503134 h 6107388"/>
                <a:gd name="connsiteX5" fmla="*/ 1137841 w 5215811"/>
                <a:gd name="connsiteY5" fmla="*/ 6033968 h 6107388"/>
                <a:gd name="connsiteX6" fmla="*/ 217555 w 5215811"/>
                <a:gd name="connsiteY6" fmla="*/ 5598945 h 6107388"/>
                <a:gd name="connsiteX7" fmla="*/ 0 w 5215811"/>
                <a:gd name="connsiteY7" fmla="*/ 5419622 h 6107388"/>
                <a:gd name="connsiteX8" fmla="*/ 0 w 5215811"/>
                <a:gd name="connsiteY8" fmla="*/ 4571683 h 6107388"/>
                <a:gd name="connsiteX9" fmla="*/ 18056 w 5215811"/>
                <a:gd name="connsiteY9" fmla="*/ 4599282 h 6107388"/>
                <a:gd name="connsiteX10" fmla="*/ 358324 w 5215811"/>
                <a:gd name="connsiteY10" fmla="*/ 4988154 h 6107388"/>
                <a:gd name="connsiteX11" fmla="*/ 1282741 w 5215811"/>
                <a:gd name="connsiteY11" fmla="*/ 5493193 h 6107388"/>
                <a:gd name="connsiteX12" fmla="*/ 2172794 w 5215811"/>
                <a:gd name="connsiteY12" fmla="*/ 5470630 h 6107388"/>
                <a:gd name="connsiteX13" fmla="*/ 3146893 w 5215811"/>
                <a:gd name="connsiteY13" fmla="*/ 5016296 h 6107388"/>
                <a:gd name="connsiteX14" fmla="*/ 3574114 w 5215811"/>
                <a:gd name="connsiteY14" fmla="*/ 4791124 h 6107388"/>
                <a:gd name="connsiteX15" fmla="*/ 4244948 w 5215811"/>
                <a:gd name="connsiteY15" fmla="*/ 4392664 h 6107388"/>
                <a:gd name="connsiteX16" fmla="*/ 4556385 w 5215811"/>
                <a:gd name="connsiteY16" fmla="*/ 3902656 h 6107388"/>
                <a:gd name="connsiteX17" fmla="*/ 4616354 w 5215811"/>
                <a:gd name="connsiteY17" fmla="*/ 2851680 h 6107388"/>
                <a:gd name="connsiteX18" fmla="*/ 4269266 w 5215811"/>
                <a:gd name="connsiteY18" fmla="*/ 1889625 h 6107388"/>
                <a:gd name="connsiteX19" fmla="*/ 2645976 w 5215811"/>
                <a:gd name="connsiteY19" fmla="*/ 671162 h 6107388"/>
                <a:gd name="connsiteX20" fmla="*/ 1648930 w 5215811"/>
                <a:gd name="connsiteY20" fmla="*/ 573017 h 6107388"/>
                <a:gd name="connsiteX21" fmla="*/ 771768 w 5215811"/>
                <a:gd name="connsiteY21" fmla="*/ 865882 h 6107388"/>
                <a:gd name="connsiteX22" fmla="*/ 433617 w 5215811"/>
                <a:gd name="connsiteY22" fmla="*/ 1119441 h 6107388"/>
                <a:gd name="connsiteX23" fmla="*/ 200571 w 5215811"/>
                <a:gd name="connsiteY23" fmla="*/ 1486480 h 6107388"/>
                <a:gd name="connsiteX24" fmla="*/ 47077 w 5215811"/>
                <a:gd name="connsiteY24" fmla="*/ 1753604 h 6107388"/>
                <a:gd name="connsiteX25" fmla="*/ 0 w 5215811"/>
                <a:gd name="connsiteY25" fmla="*/ 1831655 h 6107388"/>
                <a:gd name="connsiteX26" fmla="*/ 0 w 5215811"/>
                <a:gd name="connsiteY26" fmla="*/ 751112 h 6107388"/>
                <a:gd name="connsiteX27" fmla="*/ 6994 w 5215811"/>
                <a:gd name="connsiteY27" fmla="*/ 742614 h 6107388"/>
                <a:gd name="connsiteX28" fmla="*/ 484047 w 5215811"/>
                <a:gd name="connsiteY28" fmla="*/ 378777 h 6107388"/>
                <a:gd name="connsiteX29" fmla="*/ 1869139 w 5215811"/>
                <a:gd name="connsiteY29" fmla="*/ 9 h 61073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5215811" h="6107388">
                  <a:moveTo>
                    <a:pt x="1869139" y="9"/>
                  </a:moveTo>
                  <a:cubicBezTo>
                    <a:pt x="2160924" y="-706"/>
                    <a:pt x="2465752" y="43039"/>
                    <a:pt x="2791149" y="130229"/>
                  </a:cubicBezTo>
                  <a:cubicBezTo>
                    <a:pt x="3651198" y="360678"/>
                    <a:pt x="4339884" y="907924"/>
                    <a:pt x="4760307" y="1608408"/>
                  </a:cubicBezTo>
                  <a:cubicBezTo>
                    <a:pt x="5188180" y="2321320"/>
                    <a:pt x="5338357" y="3192822"/>
                    <a:pt x="5108574" y="4050383"/>
                  </a:cubicBezTo>
                  <a:cubicBezTo>
                    <a:pt x="4880820" y="4900373"/>
                    <a:pt x="4152841" y="5098512"/>
                    <a:pt x="3434916" y="5503134"/>
                  </a:cubicBezTo>
                  <a:cubicBezTo>
                    <a:pt x="2717099" y="5907783"/>
                    <a:pt x="2005568" y="6266474"/>
                    <a:pt x="1137841" y="6033968"/>
                  </a:cubicBezTo>
                  <a:cubicBezTo>
                    <a:pt x="783079" y="5938910"/>
                    <a:pt x="479573" y="5790114"/>
                    <a:pt x="217555" y="5598945"/>
                  </a:cubicBezTo>
                  <a:lnTo>
                    <a:pt x="0" y="5419622"/>
                  </a:lnTo>
                  <a:lnTo>
                    <a:pt x="0" y="4571683"/>
                  </a:lnTo>
                  <a:lnTo>
                    <a:pt x="18056" y="4599282"/>
                  </a:lnTo>
                  <a:cubicBezTo>
                    <a:pt x="124071" y="4746782"/>
                    <a:pt x="237002" y="4875718"/>
                    <a:pt x="358324" y="4988154"/>
                  </a:cubicBezTo>
                  <a:cubicBezTo>
                    <a:pt x="621323" y="5231809"/>
                    <a:pt x="923667" y="5396979"/>
                    <a:pt x="1282741" y="5493193"/>
                  </a:cubicBezTo>
                  <a:cubicBezTo>
                    <a:pt x="1573894" y="5571207"/>
                    <a:pt x="1856732" y="5563878"/>
                    <a:pt x="2172794" y="5470630"/>
                  </a:cubicBezTo>
                  <a:cubicBezTo>
                    <a:pt x="2498985" y="5374183"/>
                    <a:pt x="2832844" y="5193315"/>
                    <a:pt x="3146893" y="5016296"/>
                  </a:cubicBezTo>
                  <a:cubicBezTo>
                    <a:pt x="3293538" y="4933641"/>
                    <a:pt x="3436182" y="4861160"/>
                    <a:pt x="3574114" y="4791124"/>
                  </a:cubicBezTo>
                  <a:cubicBezTo>
                    <a:pt x="3841238" y="4655550"/>
                    <a:pt x="4071901" y="4538375"/>
                    <a:pt x="4244948" y="4392664"/>
                  </a:cubicBezTo>
                  <a:cubicBezTo>
                    <a:pt x="4405844" y="4257259"/>
                    <a:pt x="4501845" y="4106204"/>
                    <a:pt x="4556385" y="3902656"/>
                  </a:cubicBezTo>
                  <a:cubicBezTo>
                    <a:pt x="4649063" y="3556776"/>
                    <a:pt x="4669271" y="3203187"/>
                    <a:pt x="4616354" y="2851680"/>
                  </a:cubicBezTo>
                  <a:cubicBezTo>
                    <a:pt x="4565198" y="2511774"/>
                    <a:pt x="4448474" y="2188147"/>
                    <a:pt x="4269266" y="1889625"/>
                  </a:cubicBezTo>
                  <a:cubicBezTo>
                    <a:pt x="3907781" y="1287586"/>
                    <a:pt x="3331245" y="854780"/>
                    <a:pt x="2645976" y="671162"/>
                  </a:cubicBezTo>
                  <a:cubicBezTo>
                    <a:pt x="2278249" y="572630"/>
                    <a:pt x="1952074" y="540526"/>
                    <a:pt x="1648930" y="573017"/>
                  </a:cubicBezTo>
                  <a:cubicBezTo>
                    <a:pt x="1351746" y="604901"/>
                    <a:pt x="1064785" y="700731"/>
                    <a:pt x="771768" y="865882"/>
                  </a:cubicBezTo>
                  <a:cubicBezTo>
                    <a:pt x="568061" y="980657"/>
                    <a:pt x="486465" y="1058486"/>
                    <a:pt x="433617" y="1119441"/>
                  </a:cubicBezTo>
                  <a:cubicBezTo>
                    <a:pt x="358307" y="1206256"/>
                    <a:pt x="292149" y="1323808"/>
                    <a:pt x="200571" y="1486480"/>
                  </a:cubicBezTo>
                  <a:cubicBezTo>
                    <a:pt x="156644" y="1564432"/>
                    <a:pt x="106654" y="1653214"/>
                    <a:pt x="47077" y="1753604"/>
                  </a:cubicBezTo>
                  <a:lnTo>
                    <a:pt x="0" y="1831655"/>
                  </a:lnTo>
                  <a:lnTo>
                    <a:pt x="0" y="751112"/>
                  </a:lnTo>
                  <a:lnTo>
                    <a:pt x="6994" y="742614"/>
                  </a:lnTo>
                  <a:cubicBezTo>
                    <a:pt x="117721" y="617683"/>
                    <a:pt x="259696" y="505222"/>
                    <a:pt x="484047" y="378777"/>
                  </a:cubicBezTo>
                  <a:cubicBezTo>
                    <a:pt x="932751" y="125890"/>
                    <a:pt x="1382831" y="1200"/>
                    <a:pt x="1869139" y="9"/>
                  </a:cubicBezTo>
                  <a:close/>
                </a:path>
              </a:pathLst>
            </a:custGeom>
            <a:gradFill>
              <a:gsLst>
                <a:gs pos="2000">
                  <a:schemeClr val="bg1">
                    <a:alpha val="10000"/>
                  </a:schemeClr>
                </a:gs>
                <a:gs pos="16000">
                  <a:schemeClr val="accent6">
                    <a:alpha val="10000"/>
                  </a:schemeClr>
                </a:gs>
                <a:gs pos="100000">
                  <a:schemeClr val="bg1">
                    <a:alpha val="10000"/>
                  </a:schemeClr>
                </a:gs>
                <a:gs pos="85000">
                  <a:schemeClr val="accent1">
                    <a:alpha val="10000"/>
                  </a:schemeClr>
                </a:gs>
              </a:gsLst>
              <a:lin ang="120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1BC3BE59-5970-254B-6323-9E2BCEE350A3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-19221" y="319367"/>
              <a:ext cx="5217956" cy="6100079"/>
            </a:xfrm>
            <a:custGeom>
              <a:avLst/>
              <a:gdLst>
                <a:gd name="connsiteX0" fmla="*/ 1951393 w 5217956"/>
                <a:gd name="connsiteY0" fmla="*/ 82 h 6100079"/>
                <a:gd name="connsiteX1" fmla="*/ 2855177 w 5217956"/>
                <a:gd name="connsiteY1" fmla="*/ 125419 h 6100079"/>
                <a:gd name="connsiteX2" fmla="*/ 4779341 w 5217956"/>
                <a:gd name="connsiteY2" fmla="*/ 1591542 h 6100079"/>
                <a:gd name="connsiteX3" fmla="*/ 5108573 w 5217956"/>
                <a:gd name="connsiteY3" fmla="*/ 4028416 h 6100079"/>
                <a:gd name="connsiteX4" fmla="*/ 3459358 w 5217956"/>
                <a:gd name="connsiteY4" fmla="*/ 5487716 h 6100079"/>
                <a:gd name="connsiteX5" fmla="*/ 1203274 w 5217956"/>
                <a:gd name="connsiteY5" fmla="*/ 6029534 h 6100079"/>
                <a:gd name="connsiteX6" fmla="*/ 59920 w 5217956"/>
                <a:gd name="connsiteY6" fmla="*/ 5396467 h 6100079"/>
                <a:gd name="connsiteX7" fmla="*/ 0 w 5217956"/>
                <a:gd name="connsiteY7" fmla="*/ 5333382 h 6100079"/>
                <a:gd name="connsiteX8" fmla="*/ 0 w 5217956"/>
                <a:gd name="connsiteY8" fmla="*/ 4205833 h 6100079"/>
                <a:gd name="connsiteX9" fmla="*/ 58036 w 5217956"/>
                <a:gd name="connsiteY9" fmla="*/ 4310048 h 6100079"/>
                <a:gd name="connsiteX10" fmla="*/ 520779 w 5217956"/>
                <a:gd name="connsiteY10" fmla="*/ 4907591 h 6100079"/>
                <a:gd name="connsiteX11" fmla="*/ 1377154 w 5217956"/>
                <a:gd name="connsiteY11" fmla="*/ 5380604 h 6100079"/>
                <a:gd name="connsiteX12" fmla="*/ 3123340 w 5217956"/>
                <a:gd name="connsiteY12" fmla="*/ 4905715 h 6100079"/>
                <a:gd name="connsiteX13" fmla="*/ 3547863 w 5217956"/>
                <a:gd name="connsiteY13" fmla="*/ 4676342 h 6100079"/>
                <a:gd name="connsiteX14" fmla="*/ 4186753 w 5217956"/>
                <a:gd name="connsiteY14" fmla="*/ 4289376 h 6100079"/>
                <a:gd name="connsiteX15" fmla="*/ 4459565 w 5217956"/>
                <a:gd name="connsiteY15" fmla="*/ 3854399 h 6100079"/>
                <a:gd name="connsiteX16" fmla="*/ 4521015 w 5217956"/>
                <a:gd name="connsiteY16" fmla="*/ 2849377 h 6100079"/>
                <a:gd name="connsiteX17" fmla="*/ 4199723 w 5217956"/>
                <a:gd name="connsiteY17" fmla="*/ 1931213 h 6100079"/>
                <a:gd name="connsiteX18" fmla="*/ 2681217 w 5217956"/>
                <a:gd name="connsiteY18" fmla="*/ 774211 h 6100079"/>
                <a:gd name="connsiteX19" fmla="*/ 926547 w 5217956"/>
                <a:gd name="connsiteY19" fmla="*/ 967112 h 6100079"/>
                <a:gd name="connsiteX20" fmla="*/ 622677 w 5217956"/>
                <a:gd name="connsiteY20" fmla="*/ 1197863 h 6100079"/>
                <a:gd name="connsiteX21" fmla="*/ 404892 w 5217956"/>
                <a:gd name="connsiteY21" fmla="*/ 1547314 h 6100079"/>
                <a:gd name="connsiteX22" fmla="*/ 40135 w 5217956"/>
                <a:gd name="connsiteY22" fmla="*/ 2159090 h 6100079"/>
                <a:gd name="connsiteX23" fmla="*/ 0 w 5217956"/>
                <a:gd name="connsiteY23" fmla="*/ 2219367 h 6100079"/>
                <a:gd name="connsiteX24" fmla="*/ 0 w 5217956"/>
                <a:gd name="connsiteY24" fmla="*/ 915659 h 6100079"/>
                <a:gd name="connsiteX25" fmla="*/ 58609 w 5217956"/>
                <a:gd name="connsiteY25" fmla="*/ 828051 h 6100079"/>
                <a:gd name="connsiteX26" fmla="*/ 590688 w 5217956"/>
                <a:gd name="connsiteY26" fmla="*/ 385385 h 6100079"/>
                <a:gd name="connsiteX27" fmla="*/ 1951393 w 5217956"/>
                <a:gd name="connsiteY27" fmla="*/ 82 h 61000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5217956" h="6100079">
                  <a:moveTo>
                    <a:pt x="1951393" y="82"/>
                  </a:moveTo>
                  <a:cubicBezTo>
                    <a:pt x="2237631" y="-2119"/>
                    <a:pt x="2536431" y="40011"/>
                    <a:pt x="2855177" y="125419"/>
                  </a:cubicBezTo>
                  <a:cubicBezTo>
                    <a:pt x="3697704" y="351173"/>
                    <a:pt x="4370490" y="894159"/>
                    <a:pt x="4779341" y="1591542"/>
                  </a:cubicBezTo>
                  <a:cubicBezTo>
                    <a:pt x="5195534" y="2301324"/>
                    <a:pt x="5338356" y="3170855"/>
                    <a:pt x="5108573" y="4028416"/>
                  </a:cubicBezTo>
                  <a:cubicBezTo>
                    <a:pt x="4880819" y="4878406"/>
                    <a:pt x="4165603" y="5079965"/>
                    <a:pt x="3459358" y="5487716"/>
                  </a:cubicBezTo>
                  <a:cubicBezTo>
                    <a:pt x="2753114" y="5895466"/>
                    <a:pt x="2053264" y="6257288"/>
                    <a:pt x="1203274" y="6029534"/>
                  </a:cubicBezTo>
                  <a:cubicBezTo>
                    <a:pt x="739884" y="5905369"/>
                    <a:pt x="366399" y="5685345"/>
                    <a:pt x="59920" y="5396467"/>
                  </a:cubicBezTo>
                  <a:lnTo>
                    <a:pt x="0" y="5333382"/>
                  </a:lnTo>
                  <a:lnTo>
                    <a:pt x="0" y="4205833"/>
                  </a:lnTo>
                  <a:lnTo>
                    <a:pt x="58036" y="4310048"/>
                  </a:lnTo>
                  <a:cubicBezTo>
                    <a:pt x="197935" y="4550245"/>
                    <a:pt x="350594" y="4747142"/>
                    <a:pt x="520779" y="4907591"/>
                  </a:cubicBezTo>
                  <a:cubicBezTo>
                    <a:pt x="763600" y="5136565"/>
                    <a:pt x="1043821" y="5291288"/>
                    <a:pt x="1377154" y="5380604"/>
                  </a:cubicBezTo>
                  <a:cubicBezTo>
                    <a:pt x="1963029" y="5537589"/>
                    <a:pt x="2470519" y="5282804"/>
                    <a:pt x="3123340" y="4905715"/>
                  </a:cubicBezTo>
                  <a:cubicBezTo>
                    <a:pt x="3269800" y="4821157"/>
                    <a:pt x="3411134" y="4747512"/>
                    <a:pt x="3547863" y="4676342"/>
                  </a:cubicBezTo>
                  <a:cubicBezTo>
                    <a:pt x="3804497" y="4542710"/>
                    <a:pt x="4026085" y="4427393"/>
                    <a:pt x="4186753" y="4289376"/>
                  </a:cubicBezTo>
                  <a:cubicBezTo>
                    <a:pt x="4329009" y="4167293"/>
                    <a:pt x="4410589" y="4037181"/>
                    <a:pt x="4459565" y="3854399"/>
                  </a:cubicBezTo>
                  <a:cubicBezTo>
                    <a:pt x="4548302" y="3523229"/>
                    <a:pt x="4568981" y="3185183"/>
                    <a:pt x="4521015" y="2849377"/>
                  </a:cubicBezTo>
                  <a:cubicBezTo>
                    <a:pt x="4474709" y="2524680"/>
                    <a:pt x="4366564" y="2215756"/>
                    <a:pt x="4199723" y="1931213"/>
                  </a:cubicBezTo>
                  <a:cubicBezTo>
                    <a:pt x="3863270" y="1357325"/>
                    <a:pt x="3323982" y="946439"/>
                    <a:pt x="2681217" y="774211"/>
                  </a:cubicBezTo>
                  <a:cubicBezTo>
                    <a:pt x="2001139" y="591984"/>
                    <a:pt x="1476322" y="649699"/>
                    <a:pt x="926547" y="967112"/>
                  </a:cubicBezTo>
                  <a:cubicBezTo>
                    <a:pt x="740730" y="1074393"/>
                    <a:pt x="668642" y="1143989"/>
                    <a:pt x="622677" y="1197863"/>
                  </a:cubicBezTo>
                  <a:cubicBezTo>
                    <a:pt x="555599" y="1276450"/>
                    <a:pt x="492360" y="1390031"/>
                    <a:pt x="404892" y="1547314"/>
                  </a:cubicBezTo>
                  <a:cubicBezTo>
                    <a:pt x="317047" y="1705133"/>
                    <a:pt x="204816" y="1906756"/>
                    <a:pt x="40135" y="2159090"/>
                  </a:cubicBezTo>
                  <a:lnTo>
                    <a:pt x="0" y="2219367"/>
                  </a:lnTo>
                  <a:lnTo>
                    <a:pt x="0" y="915659"/>
                  </a:lnTo>
                  <a:lnTo>
                    <a:pt x="58609" y="828051"/>
                  </a:lnTo>
                  <a:cubicBezTo>
                    <a:pt x="177453" y="670481"/>
                    <a:pt x="325846" y="538291"/>
                    <a:pt x="590688" y="385385"/>
                  </a:cubicBezTo>
                  <a:cubicBezTo>
                    <a:pt x="1032158" y="130559"/>
                    <a:pt x="1474329" y="3750"/>
                    <a:pt x="1951393" y="82"/>
                  </a:cubicBezTo>
                  <a:close/>
                </a:path>
              </a:pathLst>
            </a:custGeom>
            <a:gradFill>
              <a:gsLst>
                <a:gs pos="2000">
                  <a:schemeClr val="bg1">
                    <a:alpha val="10000"/>
                  </a:schemeClr>
                </a:gs>
                <a:gs pos="16000">
                  <a:schemeClr val="accent6">
                    <a:alpha val="10000"/>
                  </a:schemeClr>
                </a:gs>
                <a:gs pos="100000">
                  <a:schemeClr val="bg1">
                    <a:alpha val="10000"/>
                  </a:schemeClr>
                </a:gs>
                <a:gs pos="85000">
                  <a:schemeClr val="accent1">
                    <a:alpha val="10000"/>
                  </a:schemeClr>
                </a:gs>
              </a:gsLst>
              <a:lin ang="120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F53055F0-EB56-E7A7-C4B9-1BAAB1451D8B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-19220" y="319367"/>
              <a:ext cx="5217957" cy="6100079"/>
            </a:xfrm>
            <a:custGeom>
              <a:avLst/>
              <a:gdLst>
                <a:gd name="connsiteX0" fmla="*/ 1951394 w 5217957"/>
                <a:gd name="connsiteY0" fmla="*/ 82 h 6100079"/>
                <a:gd name="connsiteX1" fmla="*/ 2855178 w 5217957"/>
                <a:gd name="connsiteY1" fmla="*/ 125419 h 6100079"/>
                <a:gd name="connsiteX2" fmla="*/ 4779341 w 5217957"/>
                <a:gd name="connsiteY2" fmla="*/ 1591542 h 6100079"/>
                <a:gd name="connsiteX3" fmla="*/ 5108574 w 5217957"/>
                <a:gd name="connsiteY3" fmla="*/ 4028416 h 6100079"/>
                <a:gd name="connsiteX4" fmla="*/ 3459359 w 5217957"/>
                <a:gd name="connsiteY4" fmla="*/ 5487716 h 6100079"/>
                <a:gd name="connsiteX5" fmla="*/ 1203275 w 5217957"/>
                <a:gd name="connsiteY5" fmla="*/ 6029534 h 6100079"/>
                <a:gd name="connsiteX6" fmla="*/ 59921 w 5217957"/>
                <a:gd name="connsiteY6" fmla="*/ 5396467 h 6100079"/>
                <a:gd name="connsiteX7" fmla="*/ 0 w 5217957"/>
                <a:gd name="connsiteY7" fmla="*/ 5333381 h 6100079"/>
                <a:gd name="connsiteX8" fmla="*/ 0 w 5217957"/>
                <a:gd name="connsiteY8" fmla="*/ 4427327 h 6100079"/>
                <a:gd name="connsiteX9" fmla="*/ 112056 w 5217957"/>
                <a:gd name="connsiteY9" fmla="*/ 4602502 h 6100079"/>
                <a:gd name="connsiteX10" fmla="*/ 443875 w 5217957"/>
                <a:gd name="connsiteY10" fmla="*/ 4989110 h 6100079"/>
                <a:gd name="connsiteX11" fmla="*/ 1348175 w 5217957"/>
                <a:gd name="connsiteY11" fmla="*/ 5488759 h 6100079"/>
                <a:gd name="connsiteX12" fmla="*/ 2221463 w 5217957"/>
                <a:gd name="connsiteY12" fmla="*/ 5461704 h 6100079"/>
                <a:gd name="connsiteX13" fmla="*/ 3179339 w 5217957"/>
                <a:gd name="connsiteY13" fmla="*/ 5003023 h 6100079"/>
                <a:gd name="connsiteX14" fmla="*/ 3599638 w 5217957"/>
                <a:gd name="connsiteY14" fmla="*/ 4775996 h 6100079"/>
                <a:gd name="connsiteX15" fmla="*/ 4259765 w 5217957"/>
                <a:gd name="connsiteY15" fmla="*/ 4374667 h 6100079"/>
                <a:gd name="connsiteX16" fmla="*/ 4567742 w 5217957"/>
                <a:gd name="connsiteY16" fmla="*/ 3883732 h 6100079"/>
                <a:gd name="connsiteX17" fmla="*/ 4631929 w 5217957"/>
                <a:gd name="connsiteY17" fmla="*/ 2833886 h 6100079"/>
                <a:gd name="connsiteX18" fmla="*/ 4296412 w 5217957"/>
                <a:gd name="connsiteY18" fmla="*/ 1874932 h 6100079"/>
                <a:gd name="connsiteX19" fmla="*/ 2710219 w 5217957"/>
                <a:gd name="connsiteY19" fmla="*/ 666410 h 6100079"/>
                <a:gd name="connsiteX20" fmla="*/ 1732642 w 5217957"/>
                <a:gd name="connsiteY20" fmla="*/ 573480 h 6100079"/>
                <a:gd name="connsiteX21" fmla="*/ 870621 w 5217957"/>
                <a:gd name="connsiteY21" fmla="*/ 870402 h 6100079"/>
                <a:gd name="connsiteX22" fmla="*/ 537555 w 5217957"/>
                <a:gd name="connsiteY22" fmla="*/ 1125324 h 6100079"/>
                <a:gd name="connsiteX23" fmla="*/ 306995 w 5217957"/>
                <a:gd name="connsiteY23" fmla="*/ 1493030 h 6100079"/>
                <a:gd name="connsiteX24" fmla="*/ 23579 w 5217957"/>
                <a:gd name="connsiteY24" fmla="*/ 1977465 h 6100079"/>
                <a:gd name="connsiteX25" fmla="*/ 0 w 5217957"/>
                <a:gd name="connsiteY25" fmla="*/ 2014291 h 6100079"/>
                <a:gd name="connsiteX26" fmla="*/ 0 w 5217957"/>
                <a:gd name="connsiteY26" fmla="*/ 915660 h 6100079"/>
                <a:gd name="connsiteX27" fmla="*/ 58609 w 5217957"/>
                <a:gd name="connsiteY27" fmla="*/ 828051 h 6100079"/>
                <a:gd name="connsiteX28" fmla="*/ 590689 w 5217957"/>
                <a:gd name="connsiteY28" fmla="*/ 385385 h 6100079"/>
                <a:gd name="connsiteX29" fmla="*/ 1951394 w 5217957"/>
                <a:gd name="connsiteY29" fmla="*/ 82 h 61000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5217957" h="6100079">
                  <a:moveTo>
                    <a:pt x="1951394" y="82"/>
                  </a:moveTo>
                  <a:cubicBezTo>
                    <a:pt x="2237632" y="-2119"/>
                    <a:pt x="2536431" y="40011"/>
                    <a:pt x="2855178" y="125419"/>
                  </a:cubicBezTo>
                  <a:cubicBezTo>
                    <a:pt x="3697704" y="351173"/>
                    <a:pt x="4370491" y="894159"/>
                    <a:pt x="4779341" y="1591542"/>
                  </a:cubicBezTo>
                  <a:cubicBezTo>
                    <a:pt x="5195535" y="2301324"/>
                    <a:pt x="5338357" y="3170855"/>
                    <a:pt x="5108574" y="4028416"/>
                  </a:cubicBezTo>
                  <a:cubicBezTo>
                    <a:pt x="4880820" y="4878406"/>
                    <a:pt x="4165604" y="5079965"/>
                    <a:pt x="3459359" y="5487716"/>
                  </a:cubicBezTo>
                  <a:cubicBezTo>
                    <a:pt x="2753115" y="5895466"/>
                    <a:pt x="2053265" y="6257288"/>
                    <a:pt x="1203275" y="6029534"/>
                  </a:cubicBezTo>
                  <a:cubicBezTo>
                    <a:pt x="739885" y="5905369"/>
                    <a:pt x="366400" y="5685345"/>
                    <a:pt x="59921" y="5396467"/>
                  </a:cubicBezTo>
                  <a:lnTo>
                    <a:pt x="0" y="5333381"/>
                  </a:lnTo>
                  <a:lnTo>
                    <a:pt x="0" y="4427327"/>
                  </a:lnTo>
                  <a:lnTo>
                    <a:pt x="112056" y="4602502"/>
                  </a:lnTo>
                  <a:cubicBezTo>
                    <a:pt x="215300" y="4749260"/>
                    <a:pt x="325419" y="4877443"/>
                    <a:pt x="443875" y="4989110"/>
                  </a:cubicBezTo>
                  <a:cubicBezTo>
                    <a:pt x="700709" y="5231113"/>
                    <a:pt x="996455" y="5394516"/>
                    <a:pt x="1348175" y="5488759"/>
                  </a:cubicBezTo>
                  <a:cubicBezTo>
                    <a:pt x="1633379" y="5565179"/>
                    <a:pt x="1910917" y="5556430"/>
                    <a:pt x="2221463" y="5461704"/>
                  </a:cubicBezTo>
                  <a:cubicBezTo>
                    <a:pt x="2541923" y="5363721"/>
                    <a:pt x="2870374" y="5181404"/>
                    <a:pt x="3179339" y="5003023"/>
                  </a:cubicBezTo>
                  <a:cubicBezTo>
                    <a:pt x="3323713" y="4919760"/>
                    <a:pt x="3463978" y="4846641"/>
                    <a:pt x="3599638" y="4775996"/>
                  </a:cubicBezTo>
                  <a:cubicBezTo>
                    <a:pt x="3862436" y="4639263"/>
                    <a:pt x="4089314" y="4521074"/>
                    <a:pt x="4259765" y="4374667"/>
                  </a:cubicBezTo>
                  <a:cubicBezTo>
                    <a:pt x="4418282" y="4238625"/>
                    <a:pt x="4513201" y="4087280"/>
                    <a:pt x="4567742" y="3883732"/>
                  </a:cubicBezTo>
                  <a:cubicBezTo>
                    <a:pt x="4660420" y="3537853"/>
                    <a:pt x="4682033" y="3184640"/>
                    <a:pt x="4631929" y="2833886"/>
                  </a:cubicBezTo>
                  <a:cubicBezTo>
                    <a:pt x="4583584" y="2494734"/>
                    <a:pt x="4470646" y="2172121"/>
                    <a:pt x="4296412" y="1874932"/>
                  </a:cubicBezTo>
                  <a:cubicBezTo>
                    <a:pt x="3944879" y="1275559"/>
                    <a:pt x="3381537" y="846289"/>
                    <a:pt x="2710219" y="666410"/>
                  </a:cubicBezTo>
                  <a:cubicBezTo>
                    <a:pt x="2349955" y="569877"/>
                    <a:pt x="2030161" y="539483"/>
                    <a:pt x="1732642" y="573480"/>
                  </a:cubicBezTo>
                  <a:cubicBezTo>
                    <a:pt x="1440866" y="606814"/>
                    <a:pt x="1158880" y="703976"/>
                    <a:pt x="870621" y="870402"/>
                  </a:cubicBezTo>
                  <a:cubicBezTo>
                    <a:pt x="670160" y="986048"/>
                    <a:pt x="589753" y="1064195"/>
                    <a:pt x="537555" y="1125324"/>
                  </a:cubicBezTo>
                  <a:cubicBezTo>
                    <a:pt x="463218" y="1212400"/>
                    <a:pt x="397708" y="1330125"/>
                    <a:pt x="306995" y="1493030"/>
                  </a:cubicBezTo>
                  <a:cubicBezTo>
                    <a:pt x="234596" y="1623167"/>
                    <a:pt x="145436" y="1783409"/>
                    <a:pt x="23579" y="1977465"/>
                  </a:cubicBezTo>
                  <a:lnTo>
                    <a:pt x="0" y="2014291"/>
                  </a:lnTo>
                  <a:lnTo>
                    <a:pt x="0" y="915660"/>
                  </a:lnTo>
                  <a:lnTo>
                    <a:pt x="58609" y="828051"/>
                  </a:lnTo>
                  <a:cubicBezTo>
                    <a:pt x="177453" y="670481"/>
                    <a:pt x="325847" y="538291"/>
                    <a:pt x="590689" y="385385"/>
                  </a:cubicBezTo>
                  <a:cubicBezTo>
                    <a:pt x="1032159" y="130559"/>
                    <a:pt x="1474330" y="3750"/>
                    <a:pt x="1951394" y="82"/>
                  </a:cubicBezTo>
                  <a:close/>
                </a:path>
              </a:pathLst>
            </a:custGeom>
            <a:gradFill>
              <a:gsLst>
                <a:gs pos="2000">
                  <a:schemeClr val="bg1">
                    <a:alpha val="10000"/>
                  </a:schemeClr>
                </a:gs>
                <a:gs pos="16000">
                  <a:schemeClr val="accent6">
                    <a:alpha val="10000"/>
                  </a:schemeClr>
                </a:gs>
                <a:gs pos="100000">
                  <a:schemeClr val="bg1">
                    <a:alpha val="10000"/>
                  </a:schemeClr>
                </a:gs>
                <a:gs pos="85000">
                  <a:schemeClr val="accent1">
                    <a:alpha val="10000"/>
                  </a:schemeClr>
                </a:gs>
              </a:gsLst>
              <a:lin ang="120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F56C62-0B97-12D7-6156-2CB23E07CB4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486" y="2285999"/>
            <a:ext cx="4733849" cy="3527087"/>
          </a:xfrm>
        </p:spPr>
        <p:txBody>
          <a:bodyPr>
            <a:normAutofit/>
          </a:bodyPr>
          <a:lstStyle/>
          <a:p>
            <a:br>
              <a:rPr lang="en-US" sz="2200" dirty="0">
                <a:solidFill>
                  <a:schemeClr val="tx2"/>
                </a:solidFill>
              </a:rPr>
            </a:br>
            <a:br>
              <a:rPr lang="en-US" sz="2200" dirty="0">
                <a:solidFill>
                  <a:schemeClr val="tx2"/>
                </a:solidFill>
              </a:rPr>
            </a:br>
            <a:br>
              <a:rPr lang="en-US" sz="2200" dirty="0">
                <a:solidFill>
                  <a:schemeClr val="tx2"/>
                </a:solidFill>
              </a:rPr>
            </a:br>
            <a:br>
              <a:rPr lang="en-US" sz="2200" dirty="0">
                <a:solidFill>
                  <a:schemeClr val="tx2"/>
                </a:solidFill>
              </a:rPr>
            </a:br>
            <a:br>
              <a:rPr lang="en-US" sz="2200" dirty="0">
                <a:solidFill>
                  <a:schemeClr val="tx2"/>
                </a:solidFill>
              </a:rPr>
            </a:br>
            <a:br>
              <a:rPr lang="en-US" sz="2200" dirty="0">
                <a:solidFill>
                  <a:schemeClr val="tx2"/>
                </a:solidFill>
              </a:rPr>
            </a:br>
            <a:r>
              <a:rPr lang="en-US" sz="2200" dirty="0">
                <a:solidFill>
                  <a:schemeClr val="tx2"/>
                </a:solidFill>
              </a:rPr>
              <a:t>Welcome 2026 IAB Co-Chair,</a:t>
            </a:r>
            <a:br>
              <a:rPr lang="en-US" sz="2200" dirty="0">
                <a:solidFill>
                  <a:schemeClr val="tx2"/>
                </a:solidFill>
              </a:rPr>
            </a:br>
            <a:r>
              <a:rPr lang="en-US" sz="2200" dirty="0">
                <a:solidFill>
                  <a:schemeClr val="tx2"/>
                </a:solidFill>
              </a:rPr>
              <a:t>Kapil Dev </a:t>
            </a:r>
            <a:r>
              <a:rPr lang="en-US" sz="2200" dirty="0" err="1">
                <a:solidFill>
                  <a:schemeClr val="tx2"/>
                </a:solidFill>
              </a:rPr>
              <a:t>Sayala</a:t>
            </a:r>
            <a:r>
              <a:rPr lang="en-US" sz="2200" dirty="0">
                <a:solidFill>
                  <a:schemeClr val="tx2"/>
                </a:solidFill>
              </a:rPr>
              <a:t> (R&amp;D Scientist, SEQENS)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B0AE672-DC76-ABF9-A93A-3FA94C0AD17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279136" y="956183"/>
            <a:ext cx="5841940" cy="5551677"/>
          </a:xfrm>
        </p:spPr>
        <p:txBody>
          <a:bodyPr anchor="ctr">
            <a:normAutofit/>
          </a:bodyPr>
          <a:lstStyle/>
          <a:p>
            <a:r>
              <a:rPr lang="en-US" sz="3200" dirty="0">
                <a:solidFill>
                  <a:schemeClr val="tx2"/>
                </a:solidFill>
              </a:rPr>
              <a:t>Expand virtual panel topics</a:t>
            </a:r>
          </a:p>
          <a:p>
            <a:pPr lvl="1"/>
            <a:r>
              <a:rPr lang="en-US" sz="2800" dirty="0">
                <a:solidFill>
                  <a:schemeClr val="tx2"/>
                </a:solidFill>
              </a:rPr>
              <a:t>How to get your first industry job</a:t>
            </a:r>
          </a:p>
          <a:p>
            <a:pPr lvl="1"/>
            <a:r>
              <a:rPr lang="en-US" sz="2800" dirty="0">
                <a:solidFill>
                  <a:schemeClr val="tx2"/>
                </a:solidFill>
              </a:rPr>
              <a:t>Career progression in industry</a:t>
            </a:r>
          </a:p>
          <a:p>
            <a:pPr lvl="1"/>
            <a:r>
              <a:rPr lang="en-US" sz="2800" dirty="0">
                <a:solidFill>
                  <a:schemeClr val="tx2"/>
                </a:solidFill>
              </a:rPr>
              <a:t>Basics of IP/patents</a:t>
            </a:r>
          </a:p>
          <a:p>
            <a:pPr marL="457200" lvl="1" indent="0">
              <a:buNone/>
            </a:pPr>
            <a:endParaRPr lang="en-US" sz="2800" dirty="0">
              <a:solidFill>
                <a:schemeClr val="tx2"/>
              </a:solidFill>
            </a:endParaRPr>
          </a:p>
          <a:p>
            <a:r>
              <a:rPr lang="en-US" sz="3200" dirty="0">
                <a:solidFill>
                  <a:schemeClr val="tx2"/>
                </a:solidFill>
              </a:rPr>
              <a:t>Workshops at ACS meetings</a:t>
            </a:r>
          </a:p>
          <a:p>
            <a:pPr lvl="1"/>
            <a:r>
              <a:rPr lang="en-US" sz="2800" dirty="0">
                <a:solidFill>
                  <a:schemeClr val="tx2"/>
                </a:solidFill>
              </a:rPr>
              <a:t>Resume building</a:t>
            </a:r>
          </a:p>
          <a:p>
            <a:pPr lvl="1"/>
            <a:r>
              <a:rPr lang="en-US" sz="2800" dirty="0">
                <a:solidFill>
                  <a:schemeClr val="tx2"/>
                </a:solidFill>
              </a:rPr>
              <a:t>Interviewing/soft skills</a:t>
            </a:r>
          </a:p>
          <a:p>
            <a:endParaRPr lang="en-US" sz="3200" dirty="0">
              <a:solidFill>
                <a:schemeClr val="tx2"/>
              </a:solidFill>
            </a:endParaRPr>
          </a:p>
          <a:p>
            <a:r>
              <a:rPr lang="en-US" sz="3200" dirty="0">
                <a:solidFill>
                  <a:schemeClr val="tx2"/>
                </a:solidFill>
              </a:rPr>
              <a:t>IAB Company Posters</a:t>
            </a:r>
          </a:p>
          <a:p>
            <a:pPr lvl="1"/>
            <a:r>
              <a:rPr lang="en-US" sz="2800" dirty="0">
                <a:solidFill>
                  <a:schemeClr val="tx2"/>
                </a:solidFill>
              </a:rPr>
              <a:t>Showcase at ACS POLY sessions?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EF1F7B85-1A84-F332-7381-E2C8C4651B4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787324" y="136551"/>
            <a:ext cx="1331632" cy="1327148"/>
          </a:xfrm>
          <a:prstGeom prst="rect">
            <a:avLst/>
          </a:prstGeom>
        </p:spPr>
      </p:pic>
      <p:pic>
        <p:nvPicPr>
          <p:cNvPr id="2050" name="Picture 2" descr="Profile photo of Kapil Dev Sayala">
            <a:extLst>
              <a:ext uri="{FF2B5EF4-FFF2-40B4-BE49-F238E27FC236}">
                <a16:creationId xmlns:a16="http://schemas.microsoft.com/office/drawing/2014/main" id="{CF4D45D0-7649-B2AC-2EFA-14967DF1126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05643" y="2813393"/>
            <a:ext cx="1627414" cy="1627414"/>
          </a:xfrm>
          <a:prstGeom prst="ellipse">
            <a:avLst/>
          </a:prstGeom>
          <a:ln w="63500" cap="rnd">
            <a:noFill/>
          </a:ln>
          <a:effectLst/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9592DCA7-1118-9C6E-0826-EF3A00BC51C9}"/>
              </a:ext>
            </a:extLst>
          </p:cNvPr>
          <p:cNvSpPr txBox="1"/>
          <p:nvPr/>
        </p:nvSpPr>
        <p:spPr>
          <a:xfrm>
            <a:off x="653143" y="1716109"/>
            <a:ext cx="4512192" cy="63094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3500" dirty="0">
                <a:solidFill>
                  <a:schemeClr val="tx2"/>
                </a:solidFill>
              </a:rPr>
              <a:t>Future ideas</a:t>
            </a:r>
            <a:endParaRPr lang="en-US" sz="3500" dirty="0"/>
          </a:p>
        </p:txBody>
      </p:sp>
    </p:spTree>
    <p:extLst>
      <p:ext uri="{BB962C8B-B14F-4D97-AF65-F5344CB8AC3E}">
        <p14:creationId xmlns:p14="http://schemas.microsoft.com/office/powerpoint/2010/main" val="113176313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00809" y="3196033"/>
            <a:ext cx="10515600" cy="2852737"/>
          </a:xfrm>
        </p:spPr>
        <p:txBody>
          <a:bodyPr/>
          <a:lstStyle/>
          <a:p>
            <a:pPr algn="ctr"/>
            <a:r>
              <a:rPr lang="en-US" dirty="0"/>
              <a:t>Thank you</a:t>
            </a:r>
          </a:p>
        </p:txBody>
      </p:sp>
      <p:sp>
        <p:nvSpPr>
          <p:cNvPr id="6" name="Rectangle 5"/>
          <p:cNvSpPr/>
          <p:nvPr/>
        </p:nvSpPr>
        <p:spPr>
          <a:xfrm>
            <a:off x="450680" y="1007270"/>
            <a:ext cx="11324122" cy="1200329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  <a:scene3d>
              <a:camera prst="orthographicFront"/>
              <a:lightRig rig="soft" dir="t">
                <a:rot lat="0" lon="0" rev="15600000"/>
              </a:lightRig>
            </a:scene3d>
            <a:sp3d extrusionH="57150" prstMaterial="softEdge">
              <a:bevelT w="25400" h="38100"/>
            </a:sp3d>
          </a:bodyPr>
          <a:lstStyle/>
          <a:p>
            <a:pPr algn="ctr"/>
            <a:r>
              <a:rPr lang="en-US" sz="3600" b="1" cap="none" spc="0" dirty="0">
                <a:ln/>
                <a:solidFill>
                  <a:schemeClr val="accent4"/>
                </a:solidFill>
                <a:effectLst/>
              </a:rPr>
              <a:t>Industrial Advisory Board</a:t>
            </a:r>
          </a:p>
          <a:p>
            <a:pPr algn="ctr"/>
            <a:endParaRPr lang="en-US" sz="3600" b="1" cap="none" spc="0" dirty="0">
              <a:ln/>
              <a:solidFill>
                <a:schemeClr val="accent4"/>
              </a:solidFill>
              <a:effectLst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3D995702-9CB0-35C2-D49A-00757191FFF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552149" y="1890347"/>
            <a:ext cx="3087702" cy="30773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9194403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3177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9" name="Object 8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3177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271724" y="136551"/>
            <a:ext cx="10375459" cy="716074"/>
          </a:xfrm>
        </p:spPr>
        <p:txBody>
          <a:bodyPr>
            <a:normAutofit/>
          </a:bodyPr>
          <a:lstStyle/>
          <a:p>
            <a:r>
              <a:rPr lang="en-US" dirty="0"/>
              <a:t>IAB Mission &amp; Officers 2025</a:t>
            </a:r>
          </a:p>
        </p:txBody>
      </p:sp>
      <p:sp>
        <p:nvSpPr>
          <p:cNvPr id="4" name="Rectangle 3"/>
          <p:cNvSpPr/>
          <p:nvPr/>
        </p:nvSpPr>
        <p:spPr>
          <a:xfrm>
            <a:off x="874254" y="5924888"/>
            <a:ext cx="9772929" cy="707886"/>
          </a:xfrm>
          <a:prstGeom prst="rect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r>
              <a:rPr lang="en-US" sz="2000" b="1" dirty="0">
                <a:solidFill>
                  <a:sysClr val="windowText" lastClr="000000"/>
                </a:solidFill>
                <a:ea typeface="Times New Roman" panose="02020603050405020304" pitchFamily="18" charset="0"/>
              </a:rPr>
              <a:t>“Enhance and foster industrial engagement and support to develop </a:t>
            </a:r>
            <a:r>
              <a:rPr lang="en-US" sz="2000" b="1" u="sng" dirty="0">
                <a:solidFill>
                  <a:schemeClr val="accent4">
                    <a:lumMod val="75000"/>
                  </a:schemeClr>
                </a:solidFill>
                <a:ea typeface="Times New Roman" panose="02020603050405020304" pitchFamily="18" charset="0"/>
              </a:rPr>
              <a:t>programming, education, recognition &amp; awards</a:t>
            </a:r>
            <a:r>
              <a:rPr lang="en-US" sz="2000" b="1" dirty="0">
                <a:solidFill>
                  <a:schemeClr val="accent4">
                    <a:lumMod val="75000"/>
                  </a:schemeClr>
                </a:solidFill>
                <a:ea typeface="Times New Roman" panose="02020603050405020304" pitchFamily="18" charset="0"/>
              </a:rPr>
              <a:t> </a:t>
            </a:r>
            <a:r>
              <a:rPr lang="en-US" sz="2000" b="1" dirty="0">
                <a:solidFill>
                  <a:sysClr val="windowText" lastClr="000000"/>
                </a:solidFill>
                <a:ea typeface="Times New Roman" panose="02020603050405020304" pitchFamily="18" charset="0"/>
              </a:rPr>
              <a:t>within the ACS Division of Polymer Chemistry.”</a:t>
            </a:r>
            <a:endParaRPr lang="en-US" sz="2000" dirty="0">
              <a:solidFill>
                <a:sysClr val="windowText" lastClr="000000"/>
              </a:solidFill>
              <a:ea typeface="Times New Roman" panose="02020603050405020304" pitchFamily="18" charset="0"/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1530849" y="3466560"/>
            <a:ext cx="4171905" cy="20313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100" dirty="0">
                <a:solidFill>
                  <a:prstClr val="white"/>
                </a:solidFill>
              </a:rPr>
              <a:t>Networking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prstClr val="white"/>
                </a:solidFill>
              </a:rPr>
              <a:t>Monday networking hour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prstClr val="white"/>
                </a:solidFill>
              </a:rPr>
              <a:t>Tuesday morning breakfas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100" dirty="0">
                <a:solidFill>
                  <a:prstClr val="white"/>
                </a:solidFill>
              </a:rPr>
              <a:t>Finance &amp; Reporting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prstClr val="white"/>
                </a:solidFill>
              </a:rPr>
              <a:t>IAB business meeting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100" dirty="0">
                <a:solidFill>
                  <a:prstClr val="white"/>
                </a:solidFill>
              </a:rPr>
              <a:t>Bulleti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100" dirty="0">
                <a:solidFill>
                  <a:prstClr val="white"/>
                </a:solidFill>
              </a:rPr>
              <a:t>Succession Planning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9B7716E5-300E-4210-BD6C-9B65815ECFCC}"/>
              </a:ext>
            </a:extLst>
          </p:cNvPr>
          <p:cNvSpPr/>
          <p:nvPr/>
        </p:nvSpPr>
        <p:spPr>
          <a:xfrm>
            <a:off x="1530849" y="947672"/>
            <a:ext cx="4171905" cy="4154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2100" u="sng" dirty="0">
                <a:solidFill>
                  <a:prstClr val="white"/>
                </a:solidFill>
              </a:rPr>
              <a:t>Chair</a:t>
            </a:r>
            <a:r>
              <a:rPr lang="en-US" sz="2100" dirty="0">
                <a:solidFill>
                  <a:prstClr val="white"/>
                </a:solidFill>
              </a:rPr>
              <a:t>: Jeff Ting (Nanite)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8886236C-9817-4DCF-9716-A35FC9BDB4E5}"/>
              </a:ext>
            </a:extLst>
          </p:cNvPr>
          <p:cNvSpPr/>
          <p:nvPr/>
        </p:nvSpPr>
        <p:spPr>
          <a:xfrm>
            <a:off x="5702755" y="3466560"/>
            <a:ext cx="4958396" cy="220060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100" dirty="0">
                <a:solidFill>
                  <a:prstClr val="white"/>
                </a:solidFill>
              </a:rPr>
              <a:t>Industrial Awards (IPS &amp; YIPS) Support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prstClr val="white"/>
                </a:solidFill>
              </a:rPr>
              <a:t>POLY Awards Subcommittee Member</a:t>
            </a:r>
            <a:r>
              <a:rPr lang="en-US" sz="2100" dirty="0">
                <a:solidFill>
                  <a:prstClr val="white"/>
                </a:solidFill>
              </a:rPr>
              <a:t>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100" dirty="0">
                <a:solidFill>
                  <a:prstClr val="white"/>
                </a:solidFill>
              </a:rPr>
              <a:t>New Initiativ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100" dirty="0">
                <a:solidFill>
                  <a:prstClr val="white"/>
                </a:solidFill>
              </a:rPr>
              <a:t>Membership &amp; Retainmen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100" dirty="0">
                <a:solidFill>
                  <a:prstClr val="white"/>
                </a:solidFill>
              </a:rPr>
              <a:t>Programming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prstClr val="white"/>
                </a:solidFill>
              </a:rPr>
              <a:t>Industrial Innovation in Polymer Science (IIPS)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prstClr val="white"/>
                </a:solidFill>
              </a:rPr>
              <a:t>Other industrial programming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68D724FB-6C31-9B65-CC5E-A49DB1FC102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787324" y="136551"/>
            <a:ext cx="1331632" cy="1327148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C21A5AB1-9A07-93A7-5677-3B79FEA58E12}"/>
              </a:ext>
            </a:extLst>
          </p:cNvPr>
          <p:cNvSpPr/>
          <p:nvPr/>
        </p:nvSpPr>
        <p:spPr>
          <a:xfrm>
            <a:off x="5702754" y="945645"/>
            <a:ext cx="4944429" cy="4154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2100" u="sng" dirty="0">
                <a:solidFill>
                  <a:prstClr val="white"/>
                </a:solidFill>
              </a:rPr>
              <a:t>Co-Chair</a:t>
            </a:r>
            <a:r>
              <a:rPr lang="en-US" sz="2100" dirty="0">
                <a:solidFill>
                  <a:prstClr val="white"/>
                </a:solidFill>
              </a:rPr>
              <a:t>: Mike Sims (Syensqo)</a:t>
            </a:r>
          </a:p>
        </p:txBody>
      </p:sp>
      <p:pic>
        <p:nvPicPr>
          <p:cNvPr id="14" name="Picture 13" descr="A person smiling at the camera&#10;&#10;Description automatically generated">
            <a:extLst>
              <a:ext uri="{FF2B5EF4-FFF2-40B4-BE49-F238E27FC236}">
                <a16:creationId xmlns:a16="http://schemas.microsoft.com/office/drawing/2014/main" id="{AE194CF1-7753-137A-7542-D659E08BE0BE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61494" y="1355947"/>
            <a:ext cx="2110613" cy="2110613"/>
          </a:xfrm>
          <a:prstGeom prst="rect">
            <a:avLst/>
          </a:prstGeom>
        </p:spPr>
      </p:pic>
      <p:pic>
        <p:nvPicPr>
          <p:cNvPr id="3" name="Picture 2" descr="A person smiling at the camera&#10;&#10;Description automatically generated">
            <a:extLst>
              <a:ext uri="{FF2B5EF4-FFF2-40B4-BE49-F238E27FC236}">
                <a16:creationId xmlns:a16="http://schemas.microsoft.com/office/drawing/2014/main" id="{18A85280-8A2A-AF8C-0692-E80FBEE611E5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811" b="8811"/>
          <a:stretch/>
        </p:blipFill>
        <p:spPr>
          <a:xfrm>
            <a:off x="7220253" y="1456538"/>
            <a:ext cx="1909429" cy="1909429"/>
          </a:xfrm>
          <a:prstGeom prst="ellipse">
            <a:avLst/>
          </a:prstGeom>
        </p:spPr>
      </p:pic>
    </p:spTree>
    <p:extLst>
      <p:ext uri="{BB962C8B-B14F-4D97-AF65-F5344CB8AC3E}">
        <p14:creationId xmlns:p14="http://schemas.microsoft.com/office/powerpoint/2010/main" val="194246674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23" name="Rectangle 8">
            <a:extLst>
              <a:ext uri="{FF2B5EF4-FFF2-40B4-BE49-F238E27FC236}">
                <a16:creationId xmlns:a16="http://schemas.microsoft.com/office/drawing/2014/main" id="{18873D23-2DCF-4B31-A009-95721C06E8E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1"/>
            <a:ext cx="12191695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Rectangle 10">
            <a:extLst>
              <a:ext uri="{FF2B5EF4-FFF2-40B4-BE49-F238E27FC236}">
                <a16:creationId xmlns:a16="http://schemas.microsoft.com/office/drawing/2014/main" id="{C13EF075-D4EF-4929-ADBC-91B27DA1995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305" y="0"/>
            <a:ext cx="12191695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800"/>
          </a:p>
        </p:txBody>
      </p:sp>
      <p:grpSp>
        <p:nvGrpSpPr>
          <p:cNvPr id="25" name="Group 12">
            <a:extLst>
              <a:ext uri="{FF2B5EF4-FFF2-40B4-BE49-F238E27FC236}">
                <a16:creationId xmlns:a16="http://schemas.microsoft.com/office/drawing/2014/main" id="{DAA26DFA-AAB2-4973-9C17-16D587C7B19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 noGrp="1" noUngrp="1" noRot="1" noChangeAspect="1" noMove="1" noResize="1"/>
          </p:cNvGrp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GrpSpPr>
        <p:grpSpPr>
          <a:xfrm>
            <a:off x="-21863" y="508838"/>
            <a:ext cx="5217958" cy="6239661"/>
            <a:chOff x="-19221" y="251144"/>
            <a:chExt cx="5217958" cy="6239661"/>
          </a:xfrm>
        </p:grpSpPr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3F407F11-7321-4BF6-8536-CCE8E342454B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-19221" y="251144"/>
              <a:ext cx="5187198" cy="6239661"/>
            </a:xfrm>
            <a:custGeom>
              <a:avLst/>
              <a:gdLst>
                <a:gd name="connsiteX0" fmla="*/ 2011811 w 5187198"/>
                <a:gd name="connsiteY0" fmla="*/ 4 h 6239661"/>
                <a:gd name="connsiteX1" fmla="*/ 2617011 w 5187198"/>
                <a:gd name="connsiteY1" fmla="*/ 70590 h 6239661"/>
                <a:gd name="connsiteX2" fmla="*/ 2690321 w 5187198"/>
                <a:gd name="connsiteY2" fmla="*/ 88146 h 6239661"/>
                <a:gd name="connsiteX3" fmla="*/ 2726863 w 5187198"/>
                <a:gd name="connsiteY3" fmla="*/ 97127 h 6239661"/>
                <a:gd name="connsiteX4" fmla="*/ 2762951 w 5187198"/>
                <a:gd name="connsiteY4" fmla="*/ 107375 h 6239661"/>
                <a:gd name="connsiteX5" fmla="*/ 2834843 w 5187198"/>
                <a:gd name="connsiteY5" fmla="*/ 128493 h 6239661"/>
                <a:gd name="connsiteX6" fmla="*/ 2906574 w 5187198"/>
                <a:gd name="connsiteY6" fmla="*/ 151076 h 6239661"/>
                <a:gd name="connsiteX7" fmla="*/ 3049504 w 5187198"/>
                <a:gd name="connsiteY7" fmla="*/ 202124 h 6239661"/>
                <a:gd name="connsiteX8" fmla="*/ 3189518 w 5187198"/>
                <a:gd name="connsiteY8" fmla="*/ 260159 h 6239661"/>
                <a:gd name="connsiteX9" fmla="*/ 3326048 w 5187198"/>
                <a:gd name="connsiteY9" fmla="*/ 325143 h 6239661"/>
                <a:gd name="connsiteX10" fmla="*/ 3459166 w 5187198"/>
                <a:gd name="connsiteY10" fmla="*/ 395936 h 6239661"/>
                <a:gd name="connsiteX11" fmla="*/ 3588578 w 5187198"/>
                <a:gd name="connsiteY11" fmla="*/ 472343 h 6239661"/>
                <a:gd name="connsiteX12" fmla="*/ 3651864 w 5187198"/>
                <a:gd name="connsiteY12" fmla="*/ 512600 h 6239661"/>
                <a:gd name="connsiteX13" fmla="*/ 3714514 w 5187198"/>
                <a:gd name="connsiteY13" fmla="*/ 553499 h 6239661"/>
                <a:gd name="connsiteX14" fmla="*/ 4181221 w 5187198"/>
                <a:gd name="connsiteY14" fmla="*/ 922912 h 6239661"/>
                <a:gd name="connsiteX15" fmla="*/ 4582963 w 5187198"/>
                <a:gd name="connsiteY15" fmla="*/ 1358264 h 6239661"/>
                <a:gd name="connsiteX16" fmla="*/ 4670721 w 5187198"/>
                <a:gd name="connsiteY16" fmla="*/ 1477644 h 6239661"/>
                <a:gd name="connsiteX17" fmla="*/ 4752378 w 5187198"/>
                <a:gd name="connsiteY17" fmla="*/ 1601187 h 6239661"/>
                <a:gd name="connsiteX18" fmla="*/ 4772168 w 5187198"/>
                <a:gd name="connsiteY18" fmla="*/ 1632456 h 6239661"/>
                <a:gd name="connsiteX19" fmla="*/ 4782117 w 5187198"/>
                <a:gd name="connsiteY19" fmla="*/ 1648104 h 6239661"/>
                <a:gd name="connsiteX20" fmla="*/ 4791381 w 5187198"/>
                <a:gd name="connsiteY20" fmla="*/ 1664150 h 6239661"/>
                <a:gd name="connsiteX21" fmla="*/ 4828190 w 5187198"/>
                <a:gd name="connsiteY21" fmla="*/ 1728379 h 6239661"/>
                <a:gd name="connsiteX22" fmla="*/ 4864832 w 5187198"/>
                <a:gd name="connsiteY22" fmla="*/ 1792796 h 6239661"/>
                <a:gd name="connsiteX23" fmla="*/ 4899201 w 5187198"/>
                <a:gd name="connsiteY23" fmla="*/ 1858342 h 6239661"/>
                <a:gd name="connsiteX24" fmla="*/ 4933266 w 5187198"/>
                <a:gd name="connsiteY24" fmla="*/ 1924155 h 6239661"/>
                <a:gd name="connsiteX25" fmla="*/ 4964403 w 5187198"/>
                <a:gd name="connsiteY25" fmla="*/ 1991384 h 6239661"/>
                <a:gd name="connsiteX26" fmla="*/ 4995019 w 5187198"/>
                <a:gd name="connsiteY26" fmla="*/ 2058823 h 6239661"/>
                <a:gd name="connsiteX27" fmla="*/ 5021999 w 5187198"/>
                <a:gd name="connsiteY27" fmla="*/ 2127723 h 6239661"/>
                <a:gd name="connsiteX28" fmla="*/ 5048321 w 5187198"/>
                <a:gd name="connsiteY28" fmla="*/ 2196908 h 6239661"/>
                <a:gd name="connsiteX29" fmla="*/ 5070546 w 5187198"/>
                <a:gd name="connsiteY29" fmla="*/ 2267547 h 6239661"/>
                <a:gd name="connsiteX30" fmla="*/ 5092171 w 5187198"/>
                <a:gd name="connsiteY30" fmla="*/ 2338256 h 6239661"/>
                <a:gd name="connsiteX31" fmla="*/ 5110305 w 5187198"/>
                <a:gd name="connsiteY31" fmla="*/ 2409886 h 6239661"/>
                <a:gd name="connsiteX32" fmla="*/ 5186393 w 5187198"/>
                <a:gd name="connsiteY32" fmla="*/ 2992022 h 6239661"/>
                <a:gd name="connsiteX33" fmla="*/ 5149045 w 5187198"/>
                <a:gd name="connsiteY33" fmla="*/ 3571816 h 6239661"/>
                <a:gd name="connsiteX34" fmla="*/ 5126572 w 5187198"/>
                <a:gd name="connsiteY34" fmla="*/ 3714520 h 6239661"/>
                <a:gd name="connsiteX35" fmla="*/ 5099067 w 5187198"/>
                <a:gd name="connsiteY35" fmla="*/ 3856108 h 6239661"/>
                <a:gd name="connsiteX36" fmla="*/ 5095699 w 5187198"/>
                <a:gd name="connsiteY36" fmla="*/ 3873868 h 6239661"/>
                <a:gd name="connsiteX37" fmla="*/ 5091573 w 5187198"/>
                <a:gd name="connsiteY37" fmla="*/ 3891426 h 6239661"/>
                <a:gd name="connsiteX38" fmla="*/ 5083324 w 5187198"/>
                <a:gd name="connsiteY38" fmla="*/ 3926541 h 6239661"/>
                <a:gd name="connsiteX39" fmla="*/ 5067256 w 5187198"/>
                <a:gd name="connsiteY39" fmla="*/ 3996889 h 6239661"/>
                <a:gd name="connsiteX40" fmla="*/ 5059194 w 5187198"/>
                <a:gd name="connsiteY40" fmla="*/ 4032171 h 6239661"/>
                <a:gd name="connsiteX41" fmla="*/ 5049522 w 5187198"/>
                <a:gd name="connsiteY41" fmla="*/ 4067833 h 6239661"/>
                <a:gd name="connsiteX42" fmla="*/ 5040067 w 5187198"/>
                <a:gd name="connsiteY42" fmla="*/ 4103553 h 6239661"/>
                <a:gd name="connsiteX43" fmla="*/ 5028960 w 5187198"/>
                <a:gd name="connsiteY43" fmla="*/ 4138946 h 6239661"/>
                <a:gd name="connsiteX44" fmla="*/ 4917351 w 5187198"/>
                <a:gd name="connsiteY44" fmla="*/ 4417041 h 6239661"/>
                <a:gd name="connsiteX45" fmla="*/ 4756163 w 5187198"/>
                <a:gd name="connsiteY45" fmla="*/ 4676402 h 6239661"/>
                <a:gd name="connsiteX46" fmla="*/ 4322493 w 5187198"/>
                <a:gd name="connsiteY46" fmla="*/ 5105604 h 6239661"/>
                <a:gd name="connsiteX47" fmla="*/ 3840510 w 5187198"/>
                <a:gd name="connsiteY47" fmla="*/ 5429590 h 6239661"/>
                <a:gd name="connsiteX48" fmla="*/ 3606447 w 5187198"/>
                <a:gd name="connsiteY48" fmla="*/ 5572862 h 6239661"/>
                <a:gd name="connsiteX49" fmla="*/ 3488814 w 5187198"/>
                <a:gd name="connsiteY49" fmla="*/ 5647178 h 6239661"/>
                <a:gd name="connsiteX50" fmla="*/ 3365864 w 5187198"/>
                <a:gd name="connsiteY50" fmla="*/ 5722735 h 6239661"/>
                <a:gd name="connsiteX51" fmla="*/ 2839486 w 5187198"/>
                <a:gd name="connsiteY51" fmla="*/ 5999120 h 6239661"/>
                <a:gd name="connsiteX52" fmla="*/ 2242423 w 5187198"/>
                <a:gd name="connsiteY52" fmla="*/ 6192346 h 6239661"/>
                <a:gd name="connsiteX53" fmla="*/ 1589380 w 5187198"/>
                <a:gd name="connsiteY53" fmla="*/ 6230657 h 6239661"/>
                <a:gd name="connsiteX54" fmla="*/ 1548244 w 5187198"/>
                <a:gd name="connsiteY54" fmla="*/ 6226706 h 6239661"/>
                <a:gd name="connsiteX55" fmla="*/ 1507348 w 5187198"/>
                <a:gd name="connsiteY55" fmla="*/ 6221428 h 6239661"/>
                <a:gd name="connsiteX56" fmla="*/ 1466401 w 5187198"/>
                <a:gd name="connsiteY56" fmla="*/ 6215904 h 6239661"/>
                <a:gd name="connsiteX57" fmla="*/ 1425773 w 5187198"/>
                <a:gd name="connsiteY57" fmla="*/ 6209191 h 6239661"/>
                <a:gd name="connsiteX58" fmla="*/ 1344960 w 5187198"/>
                <a:gd name="connsiteY58" fmla="*/ 6193681 h 6239661"/>
                <a:gd name="connsiteX59" fmla="*/ 1265007 w 5187198"/>
                <a:gd name="connsiteY59" fmla="*/ 6175388 h 6239661"/>
                <a:gd name="connsiteX60" fmla="*/ 1225415 w 5187198"/>
                <a:gd name="connsiteY60" fmla="*/ 6165243 h 6239661"/>
                <a:gd name="connsiteX61" fmla="*/ 1186567 w 5187198"/>
                <a:gd name="connsiteY61" fmla="*/ 6154486 h 6239661"/>
                <a:gd name="connsiteX62" fmla="*/ 1111158 w 5187198"/>
                <a:gd name="connsiteY62" fmla="*/ 6130918 h 6239661"/>
                <a:gd name="connsiteX63" fmla="*/ 1035915 w 5187198"/>
                <a:gd name="connsiteY63" fmla="*/ 6107163 h 6239661"/>
                <a:gd name="connsiteX64" fmla="*/ 961579 w 5187198"/>
                <a:gd name="connsiteY64" fmla="*/ 6079594 h 6239661"/>
                <a:gd name="connsiteX65" fmla="*/ 395297 w 5187198"/>
                <a:gd name="connsiteY65" fmla="*/ 5792812 h 6239661"/>
                <a:gd name="connsiteX66" fmla="*/ 265239 w 5187198"/>
                <a:gd name="connsiteY66" fmla="*/ 5701511 h 6239661"/>
                <a:gd name="connsiteX67" fmla="*/ 233756 w 5187198"/>
                <a:gd name="connsiteY67" fmla="*/ 5677542 h 6239661"/>
                <a:gd name="connsiteX68" fmla="*/ 202800 w 5187198"/>
                <a:gd name="connsiteY68" fmla="*/ 5652902 h 6239661"/>
                <a:gd name="connsiteX69" fmla="*/ 140918 w 5187198"/>
                <a:gd name="connsiteY69" fmla="*/ 5603515 h 6239661"/>
                <a:gd name="connsiteX70" fmla="*/ 110625 w 5187198"/>
                <a:gd name="connsiteY70" fmla="*/ 5578127 h 6239661"/>
                <a:gd name="connsiteX71" fmla="*/ 95631 w 5187198"/>
                <a:gd name="connsiteY71" fmla="*/ 5565299 h 6239661"/>
                <a:gd name="connsiteX72" fmla="*/ 81966 w 5187198"/>
                <a:gd name="connsiteY72" fmla="*/ 5550973 h 6239661"/>
                <a:gd name="connsiteX73" fmla="*/ 27991 w 5187198"/>
                <a:gd name="connsiteY73" fmla="*/ 5493272 h 6239661"/>
                <a:gd name="connsiteX74" fmla="*/ 1454 w 5187198"/>
                <a:gd name="connsiteY74" fmla="*/ 5464252 h 6239661"/>
                <a:gd name="connsiteX75" fmla="*/ 0 w 5187198"/>
                <a:gd name="connsiteY75" fmla="*/ 5462518 h 6239661"/>
                <a:gd name="connsiteX76" fmla="*/ 0 w 5187198"/>
                <a:gd name="connsiteY76" fmla="*/ 4720187 h 6239661"/>
                <a:gd name="connsiteX77" fmla="*/ 109684 w 5187198"/>
                <a:gd name="connsiteY77" fmla="*/ 4836724 h 6239661"/>
                <a:gd name="connsiteX78" fmla="*/ 306959 w 5187198"/>
                <a:gd name="connsiteY78" fmla="*/ 5007200 h 6239661"/>
                <a:gd name="connsiteX79" fmla="*/ 358101 w 5187198"/>
                <a:gd name="connsiteY79" fmla="*/ 5046057 h 6239661"/>
                <a:gd name="connsiteX80" fmla="*/ 383328 w 5187198"/>
                <a:gd name="connsiteY80" fmla="*/ 5065684 h 6239661"/>
                <a:gd name="connsiteX81" fmla="*/ 409503 w 5187198"/>
                <a:gd name="connsiteY81" fmla="*/ 5083942 h 6239661"/>
                <a:gd name="connsiteX82" fmla="*/ 461889 w 5187198"/>
                <a:gd name="connsiteY82" fmla="*/ 5119888 h 6239661"/>
                <a:gd name="connsiteX83" fmla="*/ 474883 w 5187198"/>
                <a:gd name="connsiteY83" fmla="*/ 5128933 h 6239661"/>
                <a:gd name="connsiteX84" fmla="*/ 486410 w 5187198"/>
                <a:gd name="connsiteY84" fmla="*/ 5139557 h 6239661"/>
                <a:gd name="connsiteX85" fmla="*/ 510852 w 5187198"/>
                <a:gd name="connsiteY85" fmla="*/ 5159089 h 6239661"/>
                <a:gd name="connsiteX86" fmla="*/ 560653 w 5187198"/>
                <a:gd name="connsiteY86" fmla="*/ 5196893 h 6239661"/>
                <a:gd name="connsiteX87" fmla="*/ 585485 w 5187198"/>
                <a:gd name="connsiteY87" fmla="*/ 5215834 h 6239661"/>
                <a:gd name="connsiteX88" fmla="*/ 610707 w 5187198"/>
                <a:gd name="connsiteY88" fmla="*/ 5234185 h 6239661"/>
                <a:gd name="connsiteX89" fmla="*/ 714768 w 5187198"/>
                <a:gd name="connsiteY89" fmla="*/ 5303103 h 6239661"/>
                <a:gd name="connsiteX90" fmla="*/ 1166634 w 5187198"/>
                <a:gd name="connsiteY90" fmla="*/ 5513322 h 6239661"/>
                <a:gd name="connsiteX91" fmla="*/ 1225991 w 5187198"/>
                <a:gd name="connsiteY91" fmla="*/ 5533632 h 6239661"/>
                <a:gd name="connsiteX92" fmla="*/ 1286680 w 5187198"/>
                <a:gd name="connsiteY92" fmla="*/ 5550705 h 6239661"/>
                <a:gd name="connsiteX93" fmla="*/ 1347310 w 5187198"/>
                <a:gd name="connsiteY93" fmla="*/ 5567995 h 6239661"/>
                <a:gd name="connsiteX94" fmla="*/ 1377002 w 5187198"/>
                <a:gd name="connsiteY94" fmla="*/ 5575719 h 6239661"/>
                <a:gd name="connsiteX95" fmla="*/ 1406328 w 5187198"/>
                <a:gd name="connsiteY95" fmla="*/ 5582649 h 6239661"/>
                <a:gd name="connsiteX96" fmla="*/ 1465060 w 5187198"/>
                <a:gd name="connsiteY96" fmla="*/ 5594909 h 6239661"/>
                <a:gd name="connsiteX97" fmla="*/ 1523881 w 5187198"/>
                <a:gd name="connsiteY97" fmla="*/ 5605105 h 6239661"/>
                <a:gd name="connsiteX98" fmla="*/ 1553325 w 5187198"/>
                <a:gd name="connsiteY98" fmla="*/ 5609865 h 6239661"/>
                <a:gd name="connsiteX99" fmla="*/ 1582813 w 5187198"/>
                <a:gd name="connsiteY99" fmla="*/ 5613593 h 6239661"/>
                <a:gd name="connsiteX100" fmla="*/ 1612301 w 5187198"/>
                <a:gd name="connsiteY100" fmla="*/ 5617321 h 6239661"/>
                <a:gd name="connsiteX101" fmla="*/ 1641863 w 5187198"/>
                <a:gd name="connsiteY101" fmla="*/ 5619910 h 6239661"/>
                <a:gd name="connsiteX102" fmla="*/ 2117508 w 5187198"/>
                <a:gd name="connsiteY102" fmla="*/ 5595156 h 6239661"/>
                <a:gd name="connsiteX103" fmla="*/ 2597368 w 5187198"/>
                <a:gd name="connsiteY103" fmla="*/ 5447381 h 6239661"/>
                <a:gd name="connsiteX104" fmla="*/ 3082968 w 5187198"/>
                <a:gd name="connsiteY104" fmla="*/ 5223245 h 6239661"/>
                <a:gd name="connsiteX105" fmla="*/ 3334855 w 5187198"/>
                <a:gd name="connsiteY105" fmla="*/ 5097383 h 6239661"/>
                <a:gd name="connsiteX106" fmla="*/ 3599509 w 5187198"/>
                <a:gd name="connsiteY106" fmla="*/ 4976217 h 6239661"/>
                <a:gd name="connsiteX107" fmla="*/ 4112002 w 5187198"/>
                <a:gd name="connsiteY107" fmla="*/ 4766359 h 6239661"/>
                <a:gd name="connsiteX108" fmla="*/ 4348983 w 5187198"/>
                <a:gd name="connsiteY108" fmla="*/ 4649833 h 6239661"/>
                <a:gd name="connsiteX109" fmla="*/ 4560505 w 5187198"/>
                <a:gd name="connsiteY109" fmla="*/ 4501564 h 6239661"/>
                <a:gd name="connsiteX110" fmla="*/ 4731963 w 5187198"/>
                <a:gd name="connsiteY110" fmla="*/ 4309870 h 6239661"/>
                <a:gd name="connsiteX111" fmla="*/ 4852344 w 5187198"/>
                <a:gd name="connsiteY111" fmla="*/ 4078640 h 6239661"/>
                <a:gd name="connsiteX112" fmla="*/ 4863972 w 5187198"/>
                <a:gd name="connsiteY112" fmla="*/ 4047790 h 6239661"/>
                <a:gd name="connsiteX113" fmla="*/ 4874144 w 5187198"/>
                <a:gd name="connsiteY113" fmla="*/ 4016320 h 6239661"/>
                <a:gd name="connsiteX114" fmla="*/ 4884127 w 5187198"/>
                <a:gd name="connsiteY114" fmla="*/ 3984682 h 6239661"/>
                <a:gd name="connsiteX115" fmla="*/ 4892800 w 5187198"/>
                <a:gd name="connsiteY115" fmla="*/ 3951883 h 6239661"/>
                <a:gd name="connsiteX116" fmla="*/ 4909526 w 5187198"/>
                <a:gd name="connsiteY116" fmla="*/ 3886001 h 6239661"/>
                <a:gd name="connsiteX117" fmla="*/ 4917687 w 5187198"/>
                <a:gd name="connsiteY117" fmla="*/ 3852948 h 6239661"/>
                <a:gd name="connsiteX118" fmla="*/ 4921768 w 5187198"/>
                <a:gd name="connsiteY118" fmla="*/ 3836422 h 6239661"/>
                <a:gd name="connsiteX119" fmla="*/ 4924845 w 5187198"/>
                <a:gd name="connsiteY119" fmla="*/ 3819742 h 6239661"/>
                <a:gd name="connsiteX120" fmla="*/ 4948230 w 5187198"/>
                <a:gd name="connsiteY120" fmla="*/ 3685744 h 6239661"/>
                <a:gd name="connsiteX121" fmla="*/ 4962782 w 5187198"/>
                <a:gd name="connsiteY121" fmla="*/ 3550540 h 6239661"/>
                <a:gd name="connsiteX122" fmla="*/ 4939468 w 5187198"/>
                <a:gd name="connsiteY122" fmla="*/ 3010249 h 6239661"/>
                <a:gd name="connsiteX123" fmla="*/ 4816901 w 5187198"/>
                <a:gd name="connsiteY123" fmla="*/ 2488224 h 6239661"/>
                <a:gd name="connsiteX124" fmla="*/ 4797005 w 5187198"/>
                <a:gd name="connsiteY124" fmla="*/ 2424470 h 6239661"/>
                <a:gd name="connsiteX125" fmla="*/ 4774433 w 5187198"/>
                <a:gd name="connsiteY125" fmla="*/ 2361620 h 6239661"/>
                <a:gd name="connsiteX126" fmla="*/ 4752459 w 5187198"/>
                <a:gd name="connsiteY126" fmla="*/ 2298700 h 6239661"/>
                <a:gd name="connsiteX127" fmla="*/ 4728083 w 5187198"/>
                <a:gd name="connsiteY127" fmla="*/ 2236526 h 6239661"/>
                <a:gd name="connsiteX128" fmla="*/ 4704471 w 5187198"/>
                <a:gd name="connsiteY128" fmla="*/ 2174095 h 6239661"/>
                <a:gd name="connsiteX129" fmla="*/ 4678399 w 5187198"/>
                <a:gd name="connsiteY129" fmla="*/ 2112626 h 6239661"/>
                <a:gd name="connsiteX130" fmla="*/ 4652601 w 5187198"/>
                <a:gd name="connsiteY130" fmla="*/ 2050999 h 6239661"/>
                <a:gd name="connsiteX131" fmla="*/ 4624205 w 5187198"/>
                <a:gd name="connsiteY131" fmla="*/ 1990415 h 6239661"/>
                <a:gd name="connsiteX132" fmla="*/ 4595398 w 5187198"/>
                <a:gd name="connsiteY132" fmla="*/ 1930069 h 6239661"/>
                <a:gd name="connsiteX133" fmla="*/ 4563827 w 5187198"/>
                <a:gd name="connsiteY133" fmla="*/ 1870952 h 6239661"/>
                <a:gd name="connsiteX134" fmla="*/ 4531433 w 5187198"/>
                <a:gd name="connsiteY134" fmla="*/ 1812311 h 6239661"/>
                <a:gd name="connsiteX135" fmla="*/ 4523315 w 5187198"/>
                <a:gd name="connsiteY135" fmla="*/ 1797616 h 6239661"/>
                <a:gd name="connsiteX136" fmla="*/ 4514482 w 5187198"/>
                <a:gd name="connsiteY136" fmla="*/ 1783425 h 6239661"/>
                <a:gd name="connsiteX137" fmla="*/ 4496845 w 5187198"/>
                <a:gd name="connsiteY137" fmla="*/ 1754936 h 6239661"/>
                <a:gd name="connsiteX138" fmla="*/ 4461463 w 5187198"/>
                <a:gd name="connsiteY138" fmla="*/ 1697929 h 6239661"/>
                <a:gd name="connsiteX139" fmla="*/ 4452660 w 5187198"/>
                <a:gd name="connsiteY139" fmla="*/ 1683629 h 6239661"/>
                <a:gd name="connsiteX140" fmla="*/ 4443141 w 5187198"/>
                <a:gd name="connsiteY140" fmla="*/ 1669834 h 6239661"/>
                <a:gd name="connsiteX141" fmla="*/ 4424241 w 5187198"/>
                <a:gd name="connsiteY141" fmla="*/ 1642166 h 6239661"/>
                <a:gd name="connsiteX142" fmla="*/ 4346886 w 5187198"/>
                <a:gd name="connsiteY142" fmla="*/ 1532412 h 6239661"/>
                <a:gd name="connsiteX143" fmla="*/ 3985497 w 5187198"/>
                <a:gd name="connsiteY143" fmla="*/ 1134649 h 6239661"/>
                <a:gd name="connsiteX144" fmla="*/ 3545665 w 5187198"/>
                <a:gd name="connsiteY144" fmla="*/ 825877 h 6239661"/>
                <a:gd name="connsiteX145" fmla="*/ 3486190 w 5187198"/>
                <a:gd name="connsiteY145" fmla="*/ 794756 h 6239661"/>
                <a:gd name="connsiteX146" fmla="*/ 3426182 w 5187198"/>
                <a:gd name="connsiteY146" fmla="*/ 764765 h 6239661"/>
                <a:gd name="connsiteX147" fmla="*/ 3365044 w 5187198"/>
                <a:gd name="connsiteY147" fmla="*/ 737255 h 6239661"/>
                <a:gd name="connsiteX148" fmla="*/ 3334529 w 5187198"/>
                <a:gd name="connsiteY148" fmla="*/ 723514 h 6239661"/>
                <a:gd name="connsiteX149" fmla="*/ 3303733 w 5187198"/>
                <a:gd name="connsiteY149" fmla="*/ 710395 h 6239661"/>
                <a:gd name="connsiteX150" fmla="*/ 3179033 w 5187198"/>
                <a:gd name="connsiteY150" fmla="*/ 662259 h 6239661"/>
                <a:gd name="connsiteX151" fmla="*/ 3052408 w 5187198"/>
                <a:gd name="connsiteY151" fmla="*/ 620447 h 6239661"/>
                <a:gd name="connsiteX152" fmla="*/ 2924325 w 5187198"/>
                <a:gd name="connsiteY152" fmla="*/ 584505 h 6239661"/>
                <a:gd name="connsiteX153" fmla="*/ 2859667 w 5187198"/>
                <a:gd name="connsiteY153" fmla="*/ 569266 h 6239661"/>
                <a:gd name="connsiteX154" fmla="*/ 2795226 w 5187198"/>
                <a:gd name="connsiteY154" fmla="*/ 554085 h 6239661"/>
                <a:gd name="connsiteX155" fmla="*/ 2729702 w 5187198"/>
                <a:gd name="connsiteY155" fmla="*/ 540354 h 6239661"/>
                <a:gd name="connsiteX156" fmla="*/ 2663758 w 5187198"/>
                <a:gd name="connsiteY156" fmla="*/ 527322 h 6239661"/>
                <a:gd name="connsiteX157" fmla="*/ 2630927 w 5187198"/>
                <a:gd name="connsiteY157" fmla="*/ 520495 h 6239661"/>
                <a:gd name="connsiteX158" fmla="*/ 2597965 w 5187198"/>
                <a:gd name="connsiteY158" fmla="*/ 515024 h 6239661"/>
                <a:gd name="connsiteX159" fmla="*/ 2532205 w 5187198"/>
                <a:gd name="connsiteY159" fmla="*/ 503895 h 6239661"/>
                <a:gd name="connsiteX160" fmla="*/ 2010064 w 5187198"/>
                <a:gd name="connsiteY160" fmla="*/ 452552 h 6239661"/>
                <a:gd name="connsiteX161" fmla="*/ 1494552 w 5187198"/>
                <a:gd name="connsiteY161" fmla="*/ 485055 h 6239661"/>
                <a:gd name="connsiteX162" fmla="*/ 1366896 w 5187198"/>
                <a:gd name="connsiteY162" fmla="*/ 509389 h 6239661"/>
                <a:gd name="connsiteX163" fmla="*/ 1240175 w 5187198"/>
                <a:gd name="connsiteY163" fmla="*/ 541045 h 6239661"/>
                <a:gd name="connsiteX164" fmla="*/ 1177438 w 5187198"/>
                <a:gd name="connsiteY164" fmla="*/ 560170 h 6239661"/>
                <a:gd name="connsiteX165" fmla="*/ 1145987 w 5187198"/>
                <a:gd name="connsiteY165" fmla="*/ 569826 h 6239661"/>
                <a:gd name="connsiteX166" fmla="*/ 1130315 w 5187198"/>
                <a:gd name="connsiteY166" fmla="*/ 574669 h 6239661"/>
                <a:gd name="connsiteX167" fmla="*/ 1114873 w 5187198"/>
                <a:gd name="connsiteY167" fmla="*/ 580384 h 6239661"/>
                <a:gd name="connsiteX168" fmla="*/ 1052839 w 5187198"/>
                <a:gd name="connsiteY168" fmla="*/ 602943 h 6239661"/>
                <a:gd name="connsiteX169" fmla="*/ 991135 w 5187198"/>
                <a:gd name="connsiteY169" fmla="*/ 626866 h 6239661"/>
                <a:gd name="connsiteX170" fmla="*/ 930179 w 5187198"/>
                <a:gd name="connsiteY170" fmla="*/ 653191 h 6239661"/>
                <a:gd name="connsiteX171" fmla="*/ 869768 w 5187198"/>
                <a:gd name="connsiteY171" fmla="*/ 680937 h 6239661"/>
                <a:gd name="connsiteX172" fmla="*/ 810085 w 5187198"/>
                <a:gd name="connsiteY172" fmla="*/ 710734 h 6239661"/>
                <a:gd name="connsiteX173" fmla="*/ 751220 w 5187198"/>
                <a:gd name="connsiteY173" fmla="*/ 741794 h 6239661"/>
                <a:gd name="connsiteX174" fmla="*/ 532669 w 5187198"/>
                <a:gd name="connsiteY174" fmla="*/ 881688 h 6239661"/>
                <a:gd name="connsiteX175" fmla="*/ 354185 w 5187198"/>
                <a:gd name="connsiteY175" fmla="*/ 1050286 h 6239661"/>
                <a:gd name="connsiteX176" fmla="*/ 315980 w 5187198"/>
                <a:gd name="connsiteY176" fmla="*/ 1098125 h 6239661"/>
                <a:gd name="connsiteX177" fmla="*/ 280345 w 5187198"/>
                <a:gd name="connsiteY177" fmla="*/ 1149782 h 6239661"/>
                <a:gd name="connsiteX178" fmla="*/ 245890 w 5187198"/>
                <a:gd name="connsiteY178" fmla="*/ 1203959 h 6239661"/>
                <a:gd name="connsiteX179" fmla="*/ 212162 w 5187198"/>
                <a:gd name="connsiteY179" fmla="*/ 1260184 h 6239661"/>
                <a:gd name="connsiteX180" fmla="*/ 80716 w 5187198"/>
                <a:gd name="connsiteY180" fmla="*/ 1502476 h 6239661"/>
                <a:gd name="connsiteX181" fmla="*/ 0 w 5187198"/>
                <a:gd name="connsiteY181" fmla="*/ 1648841 h 6239661"/>
                <a:gd name="connsiteX182" fmla="*/ 0 w 5187198"/>
                <a:gd name="connsiteY182" fmla="*/ 954863 h 6239661"/>
                <a:gd name="connsiteX183" fmla="*/ 43491 w 5187198"/>
                <a:gd name="connsiteY183" fmla="*/ 895513 h 6239661"/>
                <a:gd name="connsiteX184" fmla="*/ 93923 w 5187198"/>
                <a:gd name="connsiteY184" fmla="*/ 834489 h 6239661"/>
                <a:gd name="connsiteX185" fmla="*/ 323465 w 5187198"/>
                <a:gd name="connsiteY185" fmla="*/ 617671 h 6239661"/>
                <a:gd name="connsiteX186" fmla="*/ 574777 w 5187198"/>
                <a:gd name="connsiteY186" fmla="*/ 446794 h 6239661"/>
                <a:gd name="connsiteX187" fmla="*/ 638943 w 5187198"/>
                <a:gd name="connsiteY187" fmla="*/ 408925 h 6239661"/>
                <a:gd name="connsiteX188" fmla="*/ 703505 w 5187198"/>
                <a:gd name="connsiteY188" fmla="*/ 371742 h 6239661"/>
                <a:gd name="connsiteX189" fmla="*/ 769262 w 5187198"/>
                <a:gd name="connsiteY189" fmla="*/ 336154 h 6239661"/>
                <a:gd name="connsiteX190" fmla="*/ 835552 w 5187198"/>
                <a:gd name="connsiteY190" fmla="*/ 301173 h 6239661"/>
                <a:gd name="connsiteX191" fmla="*/ 902979 w 5187198"/>
                <a:gd name="connsiteY191" fmla="*/ 268004 h 6239661"/>
                <a:gd name="connsiteX192" fmla="*/ 971127 w 5187198"/>
                <a:gd name="connsiteY192" fmla="*/ 235607 h 6239661"/>
                <a:gd name="connsiteX193" fmla="*/ 988238 w 5187198"/>
                <a:gd name="connsiteY193" fmla="*/ 227556 h 6239661"/>
                <a:gd name="connsiteX194" fmla="*/ 1005744 w 5187198"/>
                <a:gd name="connsiteY194" fmla="*/ 220191 h 6239661"/>
                <a:gd name="connsiteX195" fmla="*/ 1040729 w 5187198"/>
                <a:gd name="connsiteY195" fmla="*/ 205569 h 6239661"/>
                <a:gd name="connsiteX196" fmla="*/ 1110835 w 5187198"/>
                <a:gd name="connsiteY196" fmla="*/ 176248 h 6239661"/>
                <a:gd name="connsiteX197" fmla="*/ 1254256 w 5187198"/>
                <a:gd name="connsiteY197" fmla="*/ 123796 h 6239661"/>
                <a:gd name="connsiteX198" fmla="*/ 1401310 w 5187198"/>
                <a:gd name="connsiteY198" fmla="*/ 79852 h 6239661"/>
                <a:gd name="connsiteX199" fmla="*/ 2011811 w 5187198"/>
                <a:gd name="connsiteY199" fmla="*/ 4 h 62396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</a:cxnLst>
              <a:rect l="l" t="t" r="r" b="b"/>
              <a:pathLst>
                <a:path w="5187198" h="6239661">
                  <a:moveTo>
                    <a:pt x="2011811" y="4"/>
                  </a:moveTo>
                  <a:cubicBezTo>
                    <a:pt x="2217306" y="120"/>
                    <a:pt x="2420903" y="25925"/>
                    <a:pt x="2617011" y="70590"/>
                  </a:cubicBezTo>
                  <a:lnTo>
                    <a:pt x="2690321" y="88146"/>
                  </a:lnTo>
                  <a:lnTo>
                    <a:pt x="2726863" y="97127"/>
                  </a:lnTo>
                  <a:lnTo>
                    <a:pt x="2762951" y="107375"/>
                  </a:lnTo>
                  <a:lnTo>
                    <a:pt x="2834843" y="128493"/>
                  </a:lnTo>
                  <a:cubicBezTo>
                    <a:pt x="2858788" y="135605"/>
                    <a:pt x="2882632" y="142226"/>
                    <a:pt x="2906574" y="151076"/>
                  </a:cubicBezTo>
                  <a:cubicBezTo>
                    <a:pt x="2954475" y="167852"/>
                    <a:pt x="3002363" y="183813"/>
                    <a:pt x="3049504" y="202124"/>
                  </a:cubicBezTo>
                  <a:lnTo>
                    <a:pt x="3189518" y="260159"/>
                  </a:lnTo>
                  <a:lnTo>
                    <a:pt x="3326048" y="325143"/>
                  </a:lnTo>
                  <a:cubicBezTo>
                    <a:pt x="3370687" y="348464"/>
                    <a:pt x="3414908" y="372485"/>
                    <a:pt x="3459166" y="395936"/>
                  </a:cubicBezTo>
                  <a:cubicBezTo>
                    <a:pt x="3502947" y="420302"/>
                    <a:pt x="3545491" y="447118"/>
                    <a:pt x="3588578" y="472343"/>
                  </a:cubicBezTo>
                  <a:cubicBezTo>
                    <a:pt x="3610346" y="484551"/>
                    <a:pt x="3630797" y="499072"/>
                    <a:pt x="3651864" y="512600"/>
                  </a:cubicBezTo>
                  <a:lnTo>
                    <a:pt x="3714514" y="553499"/>
                  </a:lnTo>
                  <a:cubicBezTo>
                    <a:pt x="3880005" y="664844"/>
                    <a:pt x="4036083" y="788388"/>
                    <a:pt x="4181221" y="922912"/>
                  </a:cubicBezTo>
                  <a:cubicBezTo>
                    <a:pt x="4326221" y="1057515"/>
                    <a:pt x="4461955" y="1202038"/>
                    <a:pt x="4582963" y="1358264"/>
                  </a:cubicBezTo>
                  <a:cubicBezTo>
                    <a:pt x="4614206" y="1396543"/>
                    <a:pt x="4642091" y="1437400"/>
                    <a:pt x="4670721" y="1477644"/>
                  </a:cubicBezTo>
                  <a:cubicBezTo>
                    <a:pt x="4700172" y="1517414"/>
                    <a:pt x="4725864" y="1559538"/>
                    <a:pt x="4752378" y="1601187"/>
                  </a:cubicBezTo>
                  <a:lnTo>
                    <a:pt x="4772168" y="1632456"/>
                  </a:lnTo>
                  <a:lnTo>
                    <a:pt x="4782117" y="1648104"/>
                  </a:lnTo>
                  <a:lnTo>
                    <a:pt x="4791381" y="1664150"/>
                  </a:lnTo>
                  <a:lnTo>
                    <a:pt x="4828190" y="1728379"/>
                  </a:lnTo>
                  <a:cubicBezTo>
                    <a:pt x="4840266" y="1749930"/>
                    <a:pt x="4853470" y="1770740"/>
                    <a:pt x="4864832" y="1792796"/>
                  </a:cubicBezTo>
                  <a:lnTo>
                    <a:pt x="4899201" y="1858342"/>
                  </a:lnTo>
                  <a:cubicBezTo>
                    <a:pt x="4910484" y="1880260"/>
                    <a:pt x="4922532" y="1901920"/>
                    <a:pt x="4933266" y="1924155"/>
                  </a:cubicBezTo>
                  <a:lnTo>
                    <a:pt x="4964403" y="1991384"/>
                  </a:lnTo>
                  <a:cubicBezTo>
                    <a:pt x="4974618" y="2013829"/>
                    <a:pt x="4985323" y="2036171"/>
                    <a:pt x="4995019" y="2058823"/>
                  </a:cubicBezTo>
                  <a:lnTo>
                    <a:pt x="5021999" y="2127723"/>
                  </a:lnTo>
                  <a:lnTo>
                    <a:pt x="5048321" y="2196908"/>
                  </a:lnTo>
                  <a:lnTo>
                    <a:pt x="5070546" y="2267547"/>
                  </a:lnTo>
                  <a:cubicBezTo>
                    <a:pt x="5078054" y="2291004"/>
                    <a:pt x="5085044" y="2314670"/>
                    <a:pt x="5092171" y="2338256"/>
                  </a:cubicBezTo>
                  <a:cubicBezTo>
                    <a:pt x="5098670" y="2362023"/>
                    <a:pt x="5104296" y="2386019"/>
                    <a:pt x="5110305" y="2409886"/>
                  </a:cubicBezTo>
                  <a:cubicBezTo>
                    <a:pt x="5158097" y="2600976"/>
                    <a:pt x="5182068" y="2797044"/>
                    <a:pt x="5186393" y="2992022"/>
                  </a:cubicBezTo>
                  <a:cubicBezTo>
                    <a:pt x="5191013" y="3187195"/>
                    <a:pt x="5175397" y="3380886"/>
                    <a:pt x="5149045" y="3571816"/>
                  </a:cubicBezTo>
                  <a:cubicBezTo>
                    <a:pt x="5141154" y="3619431"/>
                    <a:pt x="5133539" y="3666889"/>
                    <a:pt x="5126572" y="3714520"/>
                  </a:cubicBezTo>
                  <a:cubicBezTo>
                    <a:pt x="5117276" y="3761759"/>
                    <a:pt x="5107793" y="3808831"/>
                    <a:pt x="5099067" y="3856108"/>
                  </a:cubicBezTo>
                  <a:lnTo>
                    <a:pt x="5095699" y="3873868"/>
                  </a:lnTo>
                  <a:lnTo>
                    <a:pt x="5091573" y="3891426"/>
                  </a:lnTo>
                  <a:lnTo>
                    <a:pt x="5083324" y="3926541"/>
                  </a:lnTo>
                  <a:lnTo>
                    <a:pt x="5067256" y="3996889"/>
                  </a:lnTo>
                  <a:cubicBezTo>
                    <a:pt x="5064451" y="4008657"/>
                    <a:pt x="5062244" y="4020353"/>
                    <a:pt x="5059194" y="4032171"/>
                  </a:cubicBezTo>
                  <a:lnTo>
                    <a:pt x="5049522" y="4067833"/>
                  </a:lnTo>
                  <a:lnTo>
                    <a:pt x="5040067" y="4103553"/>
                  </a:lnTo>
                  <a:cubicBezTo>
                    <a:pt x="5036554" y="4115363"/>
                    <a:pt x="5032689" y="4127194"/>
                    <a:pt x="5028960" y="4138946"/>
                  </a:cubicBezTo>
                  <a:cubicBezTo>
                    <a:pt x="4999693" y="4233462"/>
                    <a:pt x="4962869" y="4326764"/>
                    <a:pt x="4917351" y="4417041"/>
                  </a:cubicBezTo>
                  <a:cubicBezTo>
                    <a:pt x="4871860" y="4507209"/>
                    <a:pt x="4817597" y="4594215"/>
                    <a:pt x="4756163" y="4676402"/>
                  </a:cubicBezTo>
                  <a:cubicBezTo>
                    <a:pt x="4632803" y="4840875"/>
                    <a:pt x="4480597" y="4982783"/>
                    <a:pt x="4322493" y="5105604"/>
                  </a:cubicBezTo>
                  <a:cubicBezTo>
                    <a:pt x="4163928" y="5228420"/>
                    <a:pt x="3999564" y="5332640"/>
                    <a:pt x="3840510" y="5429590"/>
                  </a:cubicBezTo>
                  <a:cubicBezTo>
                    <a:pt x="3760954" y="5478172"/>
                    <a:pt x="3682353" y="5524924"/>
                    <a:pt x="3606447" y="5572862"/>
                  </a:cubicBezTo>
                  <a:lnTo>
                    <a:pt x="3488814" y="5647178"/>
                  </a:lnTo>
                  <a:cubicBezTo>
                    <a:pt x="3448270" y="5672597"/>
                    <a:pt x="3407323" y="5697792"/>
                    <a:pt x="3365864" y="5722735"/>
                  </a:cubicBezTo>
                  <a:cubicBezTo>
                    <a:pt x="3200163" y="5822424"/>
                    <a:pt x="3026125" y="5917328"/>
                    <a:pt x="2839486" y="5999120"/>
                  </a:cubicBezTo>
                  <a:cubicBezTo>
                    <a:pt x="2653201" y="6080891"/>
                    <a:pt x="2453560" y="6149344"/>
                    <a:pt x="2242423" y="6192346"/>
                  </a:cubicBezTo>
                  <a:cubicBezTo>
                    <a:pt x="2031719" y="6235463"/>
                    <a:pt x="1808952" y="6251353"/>
                    <a:pt x="1589380" y="6230657"/>
                  </a:cubicBezTo>
                  <a:lnTo>
                    <a:pt x="1548244" y="6226706"/>
                  </a:lnTo>
                  <a:cubicBezTo>
                    <a:pt x="1534528" y="6225117"/>
                    <a:pt x="1520898" y="6223203"/>
                    <a:pt x="1507348" y="6221428"/>
                  </a:cubicBezTo>
                  <a:lnTo>
                    <a:pt x="1466401" y="6215904"/>
                  </a:lnTo>
                  <a:cubicBezTo>
                    <a:pt x="1452772" y="6213991"/>
                    <a:pt x="1439316" y="6211428"/>
                    <a:pt x="1425773" y="6209191"/>
                  </a:cubicBezTo>
                  <a:cubicBezTo>
                    <a:pt x="1398775" y="6204391"/>
                    <a:pt x="1371610" y="6199779"/>
                    <a:pt x="1344960" y="6193681"/>
                  </a:cubicBezTo>
                  <a:cubicBezTo>
                    <a:pt x="1318251" y="6187799"/>
                    <a:pt x="1291260" y="6182538"/>
                    <a:pt x="1265007" y="6175388"/>
                  </a:cubicBezTo>
                  <a:lnTo>
                    <a:pt x="1225415" y="6165243"/>
                  </a:lnTo>
                  <a:cubicBezTo>
                    <a:pt x="1212163" y="6161924"/>
                    <a:pt x="1198939" y="6158496"/>
                    <a:pt x="1186567" y="6154486"/>
                  </a:cubicBezTo>
                  <a:lnTo>
                    <a:pt x="1111158" y="6130918"/>
                  </a:lnTo>
                  <a:lnTo>
                    <a:pt x="1035915" y="6107163"/>
                  </a:lnTo>
                  <a:cubicBezTo>
                    <a:pt x="1010846" y="6099055"/>
                    <a:pt x="986357" y="6088784"/>
                    <a:pt x="961579" y="6079594"/>
                  </a:cubicBezTo>
                  <a:cubicBezTo>
                    <a:pt x="763709" y="6005594"/>
                    <a:pt x="572401" y="5909703"/>
                    <a:pt x="395297" y="5792812"/>
                  </a:cubicBezTo>
                  <a:lnTo>
                    <a:pt x="265239" y="5701511"/>
                  </a:lnTo>
                  <a:cubicBezTo>
                    <a:pt x="254227" y="5694155"/>
                    <a:pt x="244103" y="5685646"/>
                    <a:pt x="233756" y="5677542"/>
                  </a:cubicBezTo>
                  <a:lnTo>
                    <a:pt x="202800" y="5652902"/>
                  </a:lnTo>
                  <a:lnTo>
                    <a:pt x="140918" y="5603515"/>
                  </a:lnTo>
                  <a:cubicBezTo>
                    <a:pt x="130598" y="5595302"/>
                    <a:pt x="120280" y="5587089"/>
                    <a:pt x="110625" y="5578127"/>
                  </a:cubicBezTo>
                  <a:cubicBezTo>
                    <a:pt x="105647" y="5573779"/>
                    <a:pt x="100444" y="5569834"/>
                    <a:pt x="95631" y="5565299"/>
                  </a:cubicBezTo>
                  <a:cubicBezTo>
                    <a:pt x="90955" y="5560684"/>
                    <a:pt x="86505" y="5555666"/>
                    <a:pt x="81966" y="5550973"/>
                  </a:cubicBezTo>
                  <a:lnTo>
                    <a:pt x="27991" y="5493272"/>
                  </a:lnTo>
                  <a:cubicBezTo>
                    <a:pt x="19109" y="5483589"/>
                    <a:pt x="9758" y="5474359"/>
                    <a:pt x="1454" y="5464252"/>
                  </a:cubicBezTo>
                  <a:lnTo>
                    <a:pt x="0" y="5462518"/>
                  </a:lnTo>
                  <a:lnTo>
                    <a:pt x="0" y="4720187"/>
                  </a:lnTo>
                  <a:lnTo>
                    <a:pt x="109684" y="4836724"/>
                  </a:lnTo>
                  <a:cubicBezTo>
                    <a:pt x="173316" y="4897375"/>
                    <a:pt x="239447" y="4954160"/>
                    <a:pt x="306959" y="5007200"/>
                  </a:cubicBezTo>
                  <a:lnTo>
                    <a:pt x="358101" y="5046057"/>
                  </a:lnTo>
                  <a:lnTo>
                    <a:pt x="383328" y="5065684"/>
                  </a:lnTo>
                  <a:cubicBezTo>
                    <a:pt x="391637" y="5072316"/>
                    <a:pt x="400805" y="5077902"/>
                    <a:pt x="409503" y="5083942"/>
                  </a:cubicBezTo>
                  <a:lnTo>
                    <a:pt x="461889" y="5119888"/>
                  </a:lnTo>
                  <a:cubicBezTo>
                    <a:pt x="466184" y="5122893"/>
                    <a:pt x="470616" y="5125820"/>
                    <a:pt x="474883" y="5128933"/>
                  </a:cubicBezTo>
                  <a:cubicBezTo>
                    <a:pt x="478982" y="5132235"/>
                    <a:pt x="482476" y="5136069"/>
                    <a:pt x="486410" y="5139557"/>
                  </a:cubicBezTo>
                  <a:cubicBezTo>
                    <a:pt x="494140" y="5146613"/>
                    <a:pt x="502565" y="5152812"/>
                    <a:pt x="510852" y="5159089"/>
                  </a:cubicBezTo>
                  <a:lnTo>
                    <a:pt x="560653" y="5196893"/>
                  </a:lnTo>
                  <a:lnTo>
                    <a:pt x="585485" y="5215834"/>
                  </a:lnTo>
                  <a:cubicBezTo>
                    <a:pt x="593773" y="5222111"/>
                    <a:pt x="601864" y="5228685"/>
                    <a:pt x="610707" y="5234185"/>
                  </a:cubicBezTo>
                  <a:lnTo>
                    <a:pt x="714768" y="5303103"/>
                  </a:lnTo>
                  <a:cubicBezTo>
                    <a:pt x="856162" y="5390603"/>
                    <a:pt x="1008099" y="5459947"/>
                    <a:pt x="1166634" y="5513322"/>
                  </a:cubicBezTo>
                  <a:cubicBezTo>
                    <a:pt x="1186540" y="5519932"/>
                    <a:pt x="1205774" y="5527751"/>
                    <a:pt x="1225991" y="5533632"/>
                  </a:cubicBezTo>
                  <a:lnTo>
                    <a:pt x="1286680" y="5550705"/>
                  </a:lnTo>
                  <a:lnTo>
                    <a:pt x="1347310" y="5567995"/>
                  </a:lnTo>
                  <a:cubicBezTo>
                    <a:pt x="1357469" y="5571180"/>
                    <a:pt x="1367261" y="5573572"/>
                    <a:pt x="1377002" y="5575719"/>
                  </a:cubicBezTo>
                  <a:lnTo>
                    <a:pt x="1406328" y="5582649"/>
                  </a:lnTo>
                  <a:cubicBezTo>
                    <a:pt x="1425825" y="5587757"/>
                    <a:pt x="1445490" y="5590939"/>
                    <a:pt x="1465060" y="5594909"/>
                  </a:cubicBezTo>
                  <a:cubicBezTo>
                    <a:pt x="1484652" y="5599231"/>
                    <a:pt x="1504324" y="5601952"/>
                    <a:pt x="1523881" y="5605105"/>
                  </a:cubicBezTo>
                  <a:cubicBezTo>
                    <a:pt x="1533660" y="5606682"/>
                    <a:pt x="1543460" y="5608613"/>
                    <a:pt x="1553325" y="5609865"/>
                  </a:cubicBezTo>
                  <a:lnTo>
                    <a:pt x="1582813" y="5613593"/>
                  </a:lnTo>
                  <a:lnTo>
                    <a:pt x="1612301" y="5617321"/>
                  </a:lnTo>
                  <a:lnTo>
                    <a:pt x="1641863" y="5619910"/>
                  </a:lnTo>
                  <a:cubicBezTo>
                    <a:pt x="1799348" y="5633940"/>
                    <a:pt x="1957913" y="5625770"/>
                    <a:pt x="2117508" y="5595156"/>
                  </a:cubicBezTo>
                  <a:cubicBezTo>
                    <a:pt x="2277124" y="5564895"/>
                    <a:pt x="2437004" y="5512449"/>
                    <a:pt x="2597368" y="5447381"/>
                  </a:cubicBezTo>
                  <a:cubicBezTo>
                    <a:pt x="2757791" y="5382096"/>
                    <a:pt x="2918855" y="5304464"/>
                    <a:pt x="3082968" y="5223245"/>
                  </a:cubicBezTo>
                  <a:lnTo>
                    <a:pt x="3334855" y="5097383"/>
                  </a:lnTo>
                  <a:cubicBezTo>
                    <a:pt x="3423528" y="5054142"/>
                    <a:pt x="3511773" y="5013798"/>
                    <a:pt x="3599509" y="4976217"/>
                  </a:cubicBezTo>
                  <a:cubicBezTo>
                    <a:pt x="3774960" y="4900701"/>
                    <a:pt x="3948276" y="4837481"/>
                    <a:pt x="4112002" y="4766359"/>
                  </a:cubicBezTo>
                  <a:cubicBezTo>
                    <a:pt x="4193972" y="4730827"/>
                    <a:pt x="4273429" y="4692997"/>
                    <a:pt x="4348983" y="4649833"/>
                  </a:cubicBezTo>
                  <a:cubicBezTo>
                    <a:pt x="4424508" y="4606778"/>
                    <a:pt x="4496050" y="4558250"/>
                    <a:pt x="4560505" y="4501564"/>
                  </a:cubicBezTo>
                  <a:cubicBezTo>
                    <a:pt x="4625198" y="4445289"/>
                    <a:pt x="4682991" y="4381021"/>
                    <a:pt x="4731963" y="4309870"/>
                  </a:cubicBezTo>
                  <a:cubicBezTo>
                    <a:pt x="4781043" y="4238747"/>
                    <a:pt x="4821275" y="4160848"/>
                    <a:pt x="4852344" y="4078640"/>
                  </a:cubicBezTo>
                  <a:lnTo>
                    <a:pt x="4863972" y="4047790"/>
                  </a:lnTo>
                  <a:lnTo>
                    <a:pt x="4874144" y="4016320"/>
                  </a:lnTo>
                  <a:lnTo>
                    <a:pt x="4884127" y="3984682"/>
                  </a:lnTo>
                  <a:cubicBezTo>
                    <a:pt x="4887242" y="3973925"/>
                    <a:pt x="4889981" y="3962835"/>
                    <a:pt x="4892800" y="3951883"/>
                  </a:cubicBezTo>
                  <a:lnTo>
                    <a:pt x="4909526" y="3886001"/>
                  </a:lnTo>
                  <a:lnTo>
                    <a:pt x="4917687" y="3852948"/>
                  </a:lnTo>
                  <a:lnTo>
                    <a:pt x="4921768" y="3836422"/>
                  </a:lnTo>
                  <a:lnTo>
                    <a:pt x="4924845" y="3819742"/>
                  </a:lnTo>
                  <a:cubicBezTo>
                    <a:pt x="4933092" y="3775120"/>
                    <a:pt x="4941231" y="3730469"/>
                    <a:pt x="4948230" y="3685744"/>
                  </a:cubicBezTo>
                  <a:cubicBezTo>
                    <a:pt x="4953579" y="3640694"/>
                    <a:pt x="4958249" y="3595577"/>
                    <a:pt x="4962782" y="3550540"/>
                  </a:cubicBezTo>
                  <a:cubicBezTo>
                    <a:pt x="4976580" y="3369692"/>
                    <a:pt x="4965812" y="3187942"/>
                    <a:pt x="4939468" y="3010249"/>
                  </a:cubicBezTo>
                  <a:cubicBezTo>
                    <a:pt x="4912965" y="2832281"/>
                    <a:pt x="4870237" y="2658196"/>
                    <a:pt x="4816901" y="2488224"/>
                  </a:cubicBezTo>
                  <a:cubicBezTo>
                    <a:pt x="4810197" y="2466954"/>
                    <a:pt x="4803984" y="2445582"/>
                    <a:pt x="4797005" y="2424470"/>
                  </a:cubicBezTo>
                  <a:cubicBezTo>
                    <a:pt x="4789399" y="2403537"/>
                    <a:pt x="4781686" y="2382574"/>
                    <a:pt x="4774433" y="2361620"/>
                  </a:cubicBezTo>
                  <a:lnTo>
                    <a:pt x="4752459" y="2298700"/>
                  </a:lnTo>
                  <a:lnTo>
                    <a:pt x="4728083" y="2236526"/>
                  </a:lnTo>
                  <a:cubicBezTo>
                    <a:pt x="4719957" y="2215802"/>
                    <a:pt x="4712352" y="2194869"/>
                    <a:pt x="4704471" y="2174095"/>
                  </a:cubicBezTo>
                  <a:lnTo>
                    <a:pt x="4678399" y="2112626"/>
                  </a:lnTo>
                  <a:lnTo>
                    <a:pt x="4652601" y="2050999"/>
                  </a:lnTo>
                  <a:cubicBezTo>
                    <a:pt x="4643711" y="2030533"/>
                    <a:pt x="4633616" y="2010672"/>
                    <a:pt x="4624205" y="1990415"/>
                  </a:cubicBezTo>
                  <a:lnTo>
                    <a:pt x="4595398" y="1930069"/>
                  </a:lnTo>
                  <a:cubicBezTo>
                    <a:pt x="4585714" y="1909969"/>
                    <a:pt x="4574413" y="1890713"/>
                    <a:pt x="4563827" y="1870952"/>
                  </a:cubicBezTo>
                  <a:lnTo>
                    <a:pt x="4531433" y="1812311"/>
                  </a:lnTo>
                  <a:lnTo>
                    <a:pt x="4523315" y="1797616"/>
                  </a:lnTo>
                  <a:lnTo>
                    <a:pt x="4514482" y="1783425"/>
                  </a:lnTo>
                  <a:lnTo>
                    <a:pt x="4496845" y="1754936"/>
                  </a:lnTo>
                  <a:lnTo>
                    <a:pt x="4461463" y="1697929"/>
                  </a:lnTo>
                  <a:lnTo>
                    <a:pt x="4452660" y="1683629"/>
                  </a:lnTo>
                  <a:lnTo>
                    <a:pt x="4443141" y="1669834"/>
                  </a:lnTo>
                  <a:lnTo>
                    <a:pt x="4424241" y="1642166"/>
                  </a:lnTo>
                  <a:cubicBezTo>
                    <a:pt x="4399005" y="1605265"/>
                    <a:pt x="4374512" y="1567751"/>
                    <a:pt x="4346886" y="1532412"/>
                  </a:cubicBezTo>
                  <a:cubicBezTo>
                    <a:pt x="4240477" y="1388328"/>
                    <a:pt x="4120362" y="1253437"/>
                    <a:pt x="3985497" y="1134649"/>
                  </a:cubicBezTo>
                  <a:cubicBezTo>
                    <a:pt x="3850799" y="1015675"/>
                    <a:pt x="3702920" y="911715"/>
                    <a:pt x="3545665" y="825877"/>
                  </a:cubicBezTo>
                  <a:lnTo>
                    <a:pt x="3486190" y="794756"/>
                  </a:lnTo>
                  <a:cubicBezTo>
                    <a:pt x="3466181" y="784640"/>
                    <a:pt x="3446893" y="773560"/>
                    <a:pt x="3426182" y="764765"/>
                  </a:cubicBezTo>
                  <a:lnTo>
                    <a:pt x="3365044" y="737255"/>
                  </a:lnTo>
                  <a:lnTo>
                    <a:pt x="3334529" y="723514"/>
                  </a:lnTo>
                  <a:cubicBezTo>
                    <a:pt x="3324394" y="718943"/>
                    <a:pt x="3314287" y="714265"/>
                    <a:pt x="3303733" y="710395"/>
                  </a:cubicBezTo>
                  <a:cubicBezTo>
                    <a:pt x="3262013" y="694346"/>
                    <a:pt x="3220711" y="677599"/>
                    <a:pt x="3179033" y="662259"/>
                  </a:cubicBezTo>
                  <a:lnTo>
                    <a:pt x="3052408" y="620447"/>
                  </a:lnTo>
                  <a:lnTo>
                    <a:pt x="2924325" y="584505"/>
                  </a:lnTo>
                  <a:cubicBezTo>
                    <a:pt x="2903106" y="578471"/>
                    <a:pt x="2881119" y="574434"/>
                    <a:pt x="2859667" y="569266"/>
                  </a:cubicBezTo>
                  <a:lnTo>
                    <a:pt x="2795226" y="554085"/>
                  </a:lnTo>
                  <a:cubicBezTo>
                    <a:pt x="2774078" y="548652"/>
                    <a:pt x="2751709" y="544744"/>
                    <a:pt x="2729702" y="540354"/>
                  </a:cubicBezTo>
                  <a:lnTo>
                    <a:pt x="2663758" y="527322"/>
                  </a:lnTo>
                  <a:lnTo>
                    <a:pt x="2630927" y="520495"/>
                  </a:lnTo>
                  <a:lnTo>
                    <a:pt x="2597965" y="515024"/>
                  </a:lnTo>
                  <a:cubicBezTo>
                    <a:pt x="2575970" y="511449"/>
                    <a:pt x="2554112" y="507795"/>
                    <a:pt x="2532205" y="503895"/>
                  </a:cubicBezTo>
                  <a:cubicBezTo>
                    <a:pt x="2357016" y="475037"/>
                    <a:pt x="2182954" y="456682"/>
                    <a:pt x="2010064" y="452552"/>
                  </a:cubicBezTo>
                  <a:cubicBezTo>
                    <a:pt x="1837255" y="448558"/>
                    <a:pt x="1665388" y="457916"/>
                    <a:pt x="1494552" y="485055"/>
                  </a:cubicBezTo>
                  <a:cubicBezTo>
                    <a:pt x="1452133" y="492816"/>
                    <a:pt x="1409569" y="501117"/>
                    <a:pt x="1366896" y="509389"/>
                  </a:cubicBezTo>
                  <a:cubicBezTo>
                    <a:pt x="1324862" y="520035"/>
                    <a:pt x="1282333" y="529505"/>
                    <a:pt x="1240175" y="541045"/>
                  </a:cubicBezTo>
                  <a:lnTo>
                    <a:pt x="1177438" y="560170"/>
                  </a:lnTo>
                  <a:lnTo>
                    <a:pt x="1145987" y="569826"/>
                  </a:lnTo>
                  <a:lnTo>
                    <a:pt x="1130315" y="574669"/>
                  </a:lnTo>
                  <a:lnTo>
                    <a:pt x="1114873" y="580384"/>
                  </a:lnTo>
                  <a:lnTo>
                    <a:pt x="1052839" y="602943"/>
                  </a:lnTo>
                  <a:cubicBezTo>
                    <a:pt x="1032151" y="610499"/>
                    <a:pt x="1011255" y="617535"/>
                    <a:pt x="991135" y="626866"/>
                  </a:cubicBezTo>
                  <a:lnTo>
                    <a:pt x="930179" y="653191"/>
                  </a:lnTo>
                  <a:cubicBezTo>
                    <a:pt x="909850" y="662002"/>
                    <a:pt x="889443" y="670676"/>
                    <a:pt x="869768" y="680937"/>
                  </a:cubicBezTo>
                  <a:lnTo>
                    <a:pt x="810085" y="710734"/>
                  </a:lnTo>
                  <a:cubicBezTo>
                    <a:pt x="790331" y="720859"/>
                    <a:pt x="770124" y="730514"/>
                    <a:pt x="751220" y="741794"/>
                  </a:cubicBezTo>
                  <a:cubicBezTo>
                    <a:pt x="673929" y="784955"/>
                    <a:pt x="598827" y="830326"/>
                    <a:pt x="532669" y="881688"/>
                  </a:cubicBezTo>
                  <a:cubicBezTo>
                    <a:pt x="464226" y="931625"/>
                    <a:pt x="406969" y="988270"/>
                    <a:pt x="354185" y="1050286"/>
                  </a:cubicBezTo>
                  <a:lnTo>
                    <a:pt x="315980" y="1098125"/>
                  </a:lnTo>
                  <a:lnTo>
                    <a:pt x="280345" y="1149782"/>
                  </a:lnTo>
                  <a:cubicBezTo>
                    <a:pt x="268144" y="1166335"/>
                    <a:pt x="257438" y="1185955"/>
                    <a:pt x="245890" y="1203959"/>
                  </a:cubicBezTo>
                  <a:cubicBezTo>
                    <a:pt x="234552" y="1222481"/>
                    <a:pt x="223171" y="1240298"/>
                    <a:pt x="212162" y="1260184"/>
                  </a:cubicBezTo>
                  <a:cubicBezTo>
                    <a:pt x="168299" y="1337574"/>
                    <a:pt x="125055" y="1419360"/>
                    <a:pt x="80716" y="1502476"/>
                  </a:cubicBezTo>
                  <a:lnTo>
                    <a:pt x="0" y="1648841"/>
                  </a:lnTo>
                  <a:lnTo>
                    <a:pt x="0" y="954863"/>
                  </a:lnTo>
                  <a:lnTo>
                    <a:pt x="43491" y="895513"/>
                  </a:lnTo>
                  <a:cubicBezTo>
                    <a:pt x="59888" y="874984"/>
                    <a:pt x="77014" y="854766"/>
                    <a:pt x="93923" y="834489"/>
                  </a:cubicBezTo>
                  <a:cubicBezTo>
                    <a:pt x="163245" y="754880"/>
                    <a:pt x="240806" y="679565"/>
                    <a:pt x="323465" y="617671"/>
                  </a:cubicBezTo>
                  <a:cubicBezTo>
                    <a:pt x="405002" y="553042"/>
                    <a:pt x="490132" y="499230"/>
                    <a:pt x="574777" y="446794"/>
                  </a:cubicBezTo>
                  <a:cubicBezTo>
                    <a:pt x="595733" y="433050"/>
                    <a:pt x="617442" y="421248"/>
                    <a:pt x="638943" y="408925"/>
                  </a:cubicBezTo>
                  <a:lnTo>
                    <a:pt x="703505" y="371742"/>
                  </a:lnTo>
                  <a:cubicBezTo>
                    <a:pt x="724798" y="358900"/>
                    <a:pt x="747120" y="347842"/>
                    <a:pt x="769262" y="336154"/>
                  </a:cubicBezTo>
                  <a:lnTo>
                    <a:pt x="835552" y="301173"/>
                  </a:lnTo>
                  <a:cubicBezTo>
                    <a:pt x="857427" y="289183"/>
                    <a:pt x="880470" y="278896"/>
                    <a:pt x="902979" y="268004"/>
                  </a:cubicBezTo>
                  <a:lnTo>
                    <a:pt x="971127" y="235607"/>
                  </a:lnTo>
                  <a:lnTo>
                    <a:pt x="988238" y="227556"/>
                  </a:lnTo>
                  <a:lnTo>
                    <a:pt x="1005744" y="220191"/>
                  </a:lnTo>
                  <a:lnTo>
                    <a:pt x="1040729" y="205569"/>
                  </a:lnTo>
                  <a:lnTo>
                    <a:pt x="1110835" y="176248"/>
                  </a:lnTo>
                  <a:cubicBezTo>
                    <a:pt x="1157999" y="157703"/>
                    <a:pt x="1206322" y="141323"/>
                    <a:pt x="1254256" y="123796"/>
                  </a:cubicBezTo>
                  <a:cubicBezTo>
                    <a:pt x="1302938" y="108671"/>
                    <a:pt x="1352074" y="94017"/>
                    <a:pt x="1401310" y="79852"/>
                  </a:cubicBezTo>
                  <a:cubicBezTo>
                    <a:pt x="1599497" y="26774"/>
                    <a:pt x="1806373" y="-329"/>
                    <a:pt x="2011811" y="4"/>
                  </a:cubicBezTo>
                  <a:close/>
                </a:path>
              </a:pathLst>
            </a:custGeom>
            <a:gradFill>
              <a:gsLst>
                <a:gs pos="2000">
                  <a:schemeClr val="bg1">
                    <a:alpha val="10000"/>
                  </a:schemeClr>
                </a:gs>
                <a:gs pos="16000">
                  <a:schemeClr val="accent6">
                    <a:alpha val="10000"/>
                  </a:schemeClr>
                </a:gs>
                <a:gs pos="100000">
                  <a:schemeClr val="bg1">
                    <a:alpha val="10000"/>
                  </a:schemeClr>
                </a:gs>
                <a:gs pos="85000">
                  <a:schemeClr val="accent1">
                    <a:alpha val="10000"/>
                  </a:schemeClr>
                </a:gs>
              </a:gsLst>
              <a:lin ang="120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06AC5DCC-C3CC-4FD5-AD4E-13A1BE5F7F68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-19220" y="297400"/>
              <a:ext cx="5215811" cy="6107388"/>
            </a:xfrm>
            <a:custGeom>
              <a:avLst/>
              <a:gdLst>
                <a:gd name="connsiteX0" fmla="*/ 1869139 w 5215811"/>
                <a:gd name="connsiteY0" fmla="*/ 9 h 6107388"/>
                <a:gd name="connsiteX1" fmla="*/ 2791149 w 5215811"/>
                <a:gd name="connsiteY1" fmla="*/ 130229 h 6107388"/>
                <a:gd name="connsiteX2" fmla="*/ 4760307 w 5215811"/>
                <a:gd name="connsiteY2" fmla="*/ 1608408 h 6107388"/>
                <a:gd name="connsiteX3" fmla="*/ 5108574 w 5215811"/>
                <a:gd name="connsiteY3" fmla="*/ 4050383 h 6107388"/>
                <a:gd name="connsiteX4" fmla="*/ 3434916 w 5215811"/>
                <a:gd name="connsiteY4" fmla="*/ 5503134 h 6107388"/>
                <a:gd name="connsiteX5" fmla="*/ 1137841 w 5215811"/>
                <a:gd name="connsiteY5" fmla="*/ 6033968 h 6107388"/>
                <a:gd name="connsiteX6" fmla="*/ 217555 w 5215811"/>
                <a:gd name="connsiteY6" fmla="*/ 5598945 h 6107388"/>
                <a:gd name="connsiteX7" fmla="*/ 0 w 5215811"/>
                <a:gd name="connsiteY7" fmla="*/ 5419622 h 6107388"/>
                <a:gd name="connsiteX8" fmla="*/ 0 w 5215811"/>
                <a:gd name="connsiteY8" fmla="*/ 4571683 h 6107388"/>
                <a:gd name="connsiteX9" fmla="*/ 18056 w 5215811"/>
                <a:gd name="connsiteY9" fmla="*/ 4599282 h 6107388"/>
                <a:gd name="connsiteX10" fmla="*/ 358324 w 5215811"/>
                <a:gd name="connsiteY10" fmla="*/ 4988154 h 6107388"/>
                <a:gd name="connsiteX11" fmla="*/ 1282741 w 5215811"/>
                <a:gd name="connsiteY11" fmla="*/ 5493193 h 6107388"/>
                <a:gd name="connsiteX12" fmla="*/ 2172794 w 5215811"/>
                <a:gd name="connsiteY12" fmla="*/ 5470630 h 6107388"/>
                <a:gd name="connsiteX13" fmla="*/ 3146893 w 5215811"/>
                <a:gd name="connsiteY13" fmla="*/ 5016296 h 6107388"/>
                <a:gd name="connsiteX14" fmla="*/ 3574114 w 5215811"/>
                <a:gd name="connsiteY14" fmla="*/ 4791124 h 6107388"/>
                <a:gd name="connsiteX15" fmla="*/ 4244948 w 5215811"/>
                <a:gd name="connsiteY15" fmla="*/ 4392664 h 6107388"/>
                <a:gd name="connsiteX16" fmla="*/ 4556385 w 5215811"/>
                <a:gd name="connsiteY16" fmla="*/ 3902656 h 6107388"/>
                <a:gd name="connsiteX17" fmla="*/ 4616354 w 5215811"/>
                <a:gd name="connsiteY17" fmla="*/ 2851680 h 6107388"/>
                <a:gd name="connsiteX18" fmla="*/ 4269266 w 5215811"/>
                <a:gd name="connsiteY18" fmla="*/ 1889625 h 6107388"/>
                <a:gd name="connsiteX19" fmla="*/ 2645976 w 5215811"/>
                <a:gd name="connsiteY19" fmla="*/ 671162 h 6107388"/>
                <a:gd name="connsiteX20" fmla="*/ 1648930 w 5215811"/>
                <a:gd name="connsiteY20" fmla="*/ 573017 h 6107388"/>
                <a:gd name="connsiteX21" fmla="*/ 771768 w 5215811"/>
                <a:gd name="connsiteY21" fmla="*/ 865882 h 6107388"/>
                <a:gd name="connsiteX22" fmla="*/ 433617 w 5215811"/>
                <a:gd name="connsiteY22" fmla="*/ 1119441 h 6107388"/>
                <a:gd name="connsiteX23" fmla="*/ 200571 w 5215811"/>
                <a:gd name="connsiteY23" fmla="*/ 1486480 h 6107388"/>
                <a:gd name="connsiteX24" fmla="*/ 47077 w 5215811"/>
                <a:gd name="connsiteY24" fmla="*/ 1753604 h 6107388"/>
                <a:gd name="connsiteX25" fmla="*/ 0 w 5215811"/>
                <a:gd name="connsiteY25" fmla="*/ 1831655 h 6107388"/>
                <a:gd name="connsiteX26" fmla="*/ 0 w 5215811"/>
                <a:gd name="connsiteY26" fmla="*/ 751112 h 6107388"/>
                <a:gd name="connsiteX27" fmla="*/ 6994 w 5215811"/>
                <a:gd name="connsiteY27" fmla="*/ 742614 h 6107388"/>
                <a:gd name="connsiteX28" fmla="*/ 484047 w 5215811"/>
                <a:gd name="connsiteY28" fmla="*/ 378777 h 6107388"/>
                <a:gd name="connsiteX29" fmla="*/ 1869139 w 5215811"/>
                <a:gd name="connsiteY29" fmla="*/ 9 h 61073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5215811" h="6107388">
                  <a:moveTo>
                    <a:pt x="1869139" y="9"/>
                  </a:moveTo>
                  <a:cubicBezTo>
                    <a:pt x="2160924" y="-706"/>
                    <a:pt x="2465752" y="43039"/>
                    <a:pt x="2791149" y="130229"/>
                  </a:cubicBezTo>
                  <a:cubicBezTo>
                    <a:pt x="3651198" y="360678"/>
                    <a:pt x="4339884" y="907924"/>
                    <a:pt x="4760307" y="1608408"/>
                  </a:cubicBezTo>
                  <a:cubicBezTo>
                    <a:pt x="5188180" y="2321320"/>
                    <a:pt x="5338357" y="3192822"/>
                    <a:pt x="5108574" y="4050383"/>
                  </a:cubicBezTo>
                  <a:cubicBezTo>
                    <a:pt x="4880820" y="4900373"/>
                    <a:pt x="4152841" y="5098512"/>
                    <a:pt x="3434916" y="5503134"/>
                  </a:cubicBezTo>
                  <a:cubicBezTo>
                    <a:pt x="2717099" y="5907783"/>
                    <a:pt x="2005568" y="6266474"/>
                    <a:pt x="1137841" y="6033968"/>
                  </a:cubicBezTo>
                  <a:cubicBezTo>
                    <a:pt x="783079" y="5938910"/>
                    <a:pt x="479573" y="5790114"/>
                    <a:pt x="217555" y="5598945"/>
                  </a:cubicBezTo>
                  <a:lnTo>
                    <a:pt x="0" y="5419622"/>
                  </a:lnTo>
                  <a:lnTo>
                    <a:pt x="0" y="4571683"/>
                  </a:lnTo>
                  <a:lnTo>
                    <a:pt x="18056" y="4599282"/>
                  </a:lnTo>
                  <a:cubicBezTo>
                    <a:pt x="124071" y="4746782"/>
                    <a:pt x="237002" y="4875718"/>
                    <a:pt x="358324" y="4988154"/>
                  </a:cubicBezTo>
                  <a:cubicBezTo>
                    <a:pt x="621323" y="5231809"/>
                    <a:pt x="923667" y="5396979"/>
                    <a:pt x="1282741" y="5493193"/>
                  </a:cubicBezTo>
                  <a:cubicBezTo>
                    <a:pt x="1573894" y="5571207"/>
                    <a:pt x="1856732" y="5563878"/>
                    <a:pt x="2172794" y="5470630"/>
                  </a:cubicBezTo>
                  <a:cubicBezTo>
                    <a:pt x="2498985" y="5374183"/>
                    <a:pt x="2832844" y="5193315"/>
                    <a:pt x="3146893" y="5016296"/>
                  </a:cubicBezTo>
                  <a:cubicBezTo>
                    <a:pt x="3293538" y="4933641"/>
                    <a:pt x="3436182" y="4861160"/>
                    <a:pt x="3574114" y="4791124"/>
                  </a:cubicBezTo>
                  <a:cubicBezTo>
                    <a:pt x="3841238" y="4655550"/>
                    <a:pt x="4071901" y="4538375"/>
                    <a:pt x="4244948" y="4392664"/>
                  </a:cubicBezTo>
                  <a:cubicBezTo>
                    <a:pt x="4405844" y="4257259"/>
                    <a:pt x="4501845" y="4106204"/>
                    <a:pt x="4556385" y="3902656"/>
                  </a:cubicBezTo>
                  <a:cubicBezTo>
                    <a:pt x="4649063" y="3556776"/>
                    <a:pt x="4669271" y="3203187"/>
                    <a:pt x="4616354" y="2851680"/>
                  </a:cubicBezTo>
                  <a:cubicBezTo>
                    <a:pt x="4565198" y="2511774"/>
                    <a:pt x="4448474" y="2188147"/>
                    <a:pt x="4269266" y="1889625"/>
                  </a:cubicBezTo>
                  <a:cubicBezTo>
                    <a:pt x="3907781" y="1287586"/>
                    <a:pt x="3331245" y="854780"/>
                    <a:pt x="2645976" y="671162"/>
                  </a:cubicBezTo>
                  <a:cubicBezTo>
                    <a:pt x="2278249" y="572630"/>
                    <a:pt x="1952074" y="540526"/>
                    <a:pt x="1648930" y="573017"/>
                  </a:cubicBezTo>
                  <a:cubicBezTo>
                    <a:pt x="1351746" y="604901"/>
                    <a:pt x="1064785" y="700731"/>
                    <a:pt x="771768" y="865882"/>
                  </a:cubicBezTo>
                  <a:cubicBezTo>
                    <a:pt x="568061" y="980657"/>
                    <a:pt x="486465" y="1058486"/>
                    <a:pt x="433617" y="1119441"/>
                  </a:cubicBezTo>
                  <a:cubicBezTo>
                    <a:pt x="358307" y="1206256"/>
                    <a:pt x="292149" y="1323808"/>
                    <a:pt x="200571" y="1486480"/>
                  </a:cubicBezTo>
                  <a:cubicBezTo>
                    <a:pt x="156644" y="1564432"/>
                    <a:pt x="106654" y="1653214"/>
                    <a:pt x="47077" y="1753604"/>
                  </a:cubicBezTo>
                  <a:lnTo>
                    <a:pt x="0" y="1831655"/>
                  </a:lnTo>
                  <a:lnTo>
                    <a:pt x="0" y="751112"/>
                  </a:lnTo>
                  <a:lnTo>
                    <a:pt x="6994" y="742614"/>
                  </a:lnTo>
                  <a:cubicBezTo>
                    <a:pt x="117721" y="617683"/>
                    <a:pt x="259696" y="505222"/>
                    <a:pt x="484047" y="378777"/>
                  </a:cubicBezTo>
                  <a:cubicBezTo>
                    <a:pt x="932751" y="125890"/>
                    <a:pt x="1382831" y="1200"/>
                    <a:pt x="1869139" y="9"/>
                  </a:cubicBezTo>
                  <a:close/>
                </a:path>
              </a:pathLst>
            </a:custGeom>
            <a:gradFill>
              <a:gsLst>
                <a:gs pos="2000">
                  <a:schemeClr val="bg1">
                    <a:alpha val="10000"/>
                  </a:schemeClr>
                </a:gs>
                <a:gs pos="16000">
                  <a:schemeClr val="accent6">
                    <a:alpha val="10000"/>
                  </a:schemeClr>
                </a:gs>
                <a:gs pos="100000">
                  <a:schemeClr val="bg1">
                    <a:alpha val="10000"/>
                  </a:schemeClr>
                </a:gs>
                <a:gs pos="85000">
                  <a:schemeClr val="accent1">
                    <a:alpha val="10000"/>
                  </a:schemeClr>
                </a:gs>
              </a:gsLst>
              <a:lin ang="120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4BBCC2F4-EFA7-4AF4-B538-AC4022D90F47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-19221" y="319367"/>
              <a:ext cx="5217956" cy="6100079"/>
            </a:xfrm>
            <a:custGeom>
              <a:avLst/>
              <a:gdLst>
                <a:gd name="connsiteX0" fmla="*/ 1951393 w 5217956"/>
                <a:gd name="connsiteY0" fmla="*/ 82 h 6100079"/>
                <a:gd name="connsiteX1" fmla="*/ 2855177 w 5217956"/>
                <a:gd name="connsiteY1" fmla="*/ 125419 h 6100079"/>
                <a:gd name="connsiteX2" fmla="*/ 4779341 w 5217956"/>
                <a:gd name="connsiteY2" fmla="*/ 1591542 h 6100079"/>
                <a:gd name="connsiteX3" fmla="*/ 5108573 w 5217956"/>
                <a:gd name="connsiteY3" fmla="*/ 4028416 h 6100079"/>
                <a:gd name="connsiteX4" fmla="*/ 3459358 w 5217956"/>
                <a:gd name="connsiteY4" fmla="*/ 5487716 h 6100079"/>
                <a:gd name="connsiteX5" fmla="*/ 1203274 w 5217956"/>
                <a:gd name="connsiteY5" fmla="*/ 6029534 h 6100079"/>
                <a:gd name="connsiteX6" fmla="*/ 59920 w 5217956"/>
                <a:gd name="connsiteY6" fmla="*/ 5396467 h 6100079"/>
                <a:gd name="connsiteX7" fmla="*/ 0 w 5217956"/>
                <a:gd name="connsiteY7" fmla="*/ 5333382 h 6100079"/>
                <a:gd name="connsiteX8" fmla="*/ 0 w 5217956"/>
                <a:gd name="connsiteY8" fmla="*/ 4205833 h 6100079"/>
                <a:gd name="connsiteX9" fmla="*/ 58036 w 5217956"/>
                <a:gd name="connsiteY9" fmla="*/ 4310048 h 6100079"/>
                <a:gd name="connsiteX10" fmla="*/ 520779 w 5217956"/>
                <a:gd name="connsiteY10" fmla="*/ 4907591 h 6100079"/>
                <a:gd name="connsiteX11" fmla="*/ 1377154 w 5217956"/>
                <a:gd name="connsiteY11" fmla="*/ 5380604 h 6100079"/>
                <a:gd name="connsiteX12" fmla="*/ 3123340 w 5217956"/>
                <a:gd name="connsiteY12" fmla="*/ 4905715 h 6100079"/>
                <a:gd name="connsiteX13" fmla="*/ 3547863 w 5217956"/>
                <a:gd name="connsiteY13" fmla="*/ 4676342 h 6100079"/>
                <a:gd name="connsiteX14" fmla="*/ 4186753 w 5217956"/>
                <a:gd name="connsiteY14" fmla="*/ 4289376 h 6100079"/>
                <a:gd name="connsiteX15" fmla="*/ 4459565 w 5217956"/>
                <a:gd name="connsiteY15" fmla="*/ 3854399 h 6100079"/>
                <a:gd name="connsiteX16" fmla="*/ 4521015 w 5217956"/>
                <a:gd name="connsiteY16" fmla="*/ 2849377 h 6100079"/>
                <a:gd name="connsiteX17" fmla="*/ 4199723 w 5217956"/>
                <a:gd name="connsiteY17" fmla="*/ 1931213 h 6100079"/>
                <a:gd name="connsiteX18" fmla="*/ 2681217 w 5217956"/>
                <a:gd name="connsiteY18" fmla="*/ 774211 h 6100079"/>
                <a:gd name="connsiteX19" fmla="*/ 926547 w 5217956"/>
                <a:gd name="connsiteY19" fmla="*/ 967112 h 6100079"/>
                <a:gd name="connsiteX20" fmla="*/ 622677 w 5217956"/>
                <a:gd name="connsiteY20" fmla="*/ 1197863 h 6100079"/>
                <a:gd name="connsiteX21" fmla="*/ 404892 w 5217956"/>
                <a:gd name="connsiteY21" fmla="*/ 1547314 h 6100079"/>
                <a:gd name="connsiteX22" fmla="*/ 40135 w 5217956"/>
                <a:gd name="connsiteY22" fmla="*/ 2159090 h 6100079"/>
                <a:gd name="connsiteX23" fmla="*/ 0 w 5217956"/>
                <a:gd name="connsiteY23" fmla="*/ 2219367 h 6100079"/>
                <a:gd name="connsiteX24" fmla="*/ 0 w 5217956"/>
                <a:gd name="connsiteY24" fmla="*/ 915659 h 6100079"/>
                <a:gd name="connsiteX25" fmla="*/ 58609 w 5217956"/>
                <a:gd name="connsiteY25" fmla="*/ 828051 h 6100079"/>
                <a:gd name="connsiteX26" fmla="*/ 590688 w 5217956"/>
                <a:gd name="connsiteY26" fmla="*/ 385385 h 6100079"/>
                <a:gd name="connsiteX27" fmla="*/ 1951393 w 5217956"/>
                <a:gd name="connsiteY27" fmla="*/ 82 h 61000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5217956" h="6100079">
                  <a:moveTo>
                    <a:pt x="1951393" y="82"/>
                  </a:moveTo>
                  <a:cubicBezTo>
                    <a:pt x="2237631" y="-2119"/>
                    <a:pt x="2536431" y="40011"/>
                    <a:pt x="2855177" y="125419"/>
                  </a:cubicBezTo>
                  <a:cubicBezTo>
                    <a:pt x="3697704" y="351173"/>
                    <a:pt x="4370490" y="894159"/>
                    <a:pt x="4779341" y="1591542"/>
                  </a:cubicBezTo>
                  <a:cubicBezTo>
                    <a:pt x="5195534" y="2301324"/>
                    <a:pt x="5338356" y="3170855"/>
                    <a:pt x="5108573" y="4028416"/>
                  </a:cubicBezTo>
                  <a:cubicBezTo>
                    <a:pt x="4880819" y="4878406"/>
                    <a:pt x="4165603" y="5079965"/>
                    <a:pt x="3459358" y="5487716"/>
                  </a:cubicBezTo>
                  <a:cubicBezTo>
                    <a:pt x="2753114" y="5895466"/>
                    <a:pt x="2053264" y="6257288"/>
                    <a:pt x="1203274" y="6029534"/>
                  </a:cubicBezTo>
                  <a:cubicBezTo>
                    <a:pt x="739884" y="5905369"/>
                    <a:pt x="366399" y="5685345"/>
                    <a:pt x="59920" y="5396467"/>
                  </a:cubicBezTo>
                  <a:lnTo>
                    <a:pt x="0" y="5333382"/>
                  </a:lnTo>
                  <a:lnTo>
                    <a:pt x="0" y="4205833"/>
                  </a:lnTo>
                  <a:lnTo>
                    <a:pt x="58036" y="4310048"/>
                  </a:lnTo>
                  <a:cubicBezTo>
                    <a:pt x="197935" y="4550245"/>
                    <a:pt x="350594" y="4747142"/>
                    <a:pt x="520779" y="4907591"/>
                  </a:cubicBezTo>
                  <a:cubicBezTo>
                    <a:pt x="763600" y="5136565"/>
                    <a:pt x="1043821" y="5291288"/>
                    <a:pt x="1377154" y="5380604"/>
                  </a:cubicBezTo>
                  <a:cubicBezTo>
                    <a:pt x="1963029" y="5537589"/>
                    <a:pt x="2470519" y="5282804"/>
                    <a:pt x="3123340" y="4905715"/>
                  </a:cubicBezTo>
                  <a:cubicBezTo>
                    <a:pt x="3269800" y="4821157"/>
                    <a:pt x="3411134" y="4747512"/>
                    <a:pt x="3547863" y="4676342"/>
                  </a:cubicBezTo>
                  <a:cubicBezTo>
                    <a:pt x="3804497" y="4542710"/>
                    <a:pt x="4026085" y="4427393"/>
                    <a:pt x="4186753" y="4289376"/>
                  </a:cubicBezTo>
                  <a:cubicBezTo>
                    <a:pt x="4329009" y="4167293"/>
                    <a:pt x="4410589" y="4037181"/>
                    <a:pt x="4459565" y="3854399"/>
                  </a:cubicBezTo>
                  <a:cubicBezTo>
                    <a:pt x="4548302" y="3523229"/>
                    <a:pt x="4568981" y="3185183"/>
                    <a:pt x="4521015" y="2849377"/>
                  </a:cubicBezTo>
                  <a:cubicBezTo>
                    <a:pt x="4474709" y="2524680"/>
                    <a:pt x="4366564" y="2215756"/>
                    <a:pt x="4199723" y="1931213"/>
                  </a:cubicBezTo>
                  <a:cubicBezTo>
                    <a:pt x="3863270" y="1357325"/>
                    <a:pt x="3323982" y="946439"/>
                    <a:pt x="2681217" y="774211"/>
                  </a:cubicBezTo>
                  <a:cubicBezTo>
                    <a:pt x="2001139" y="591984"/>
                    <a:pt x="1476322" y="649699"/>
                    <a:pt x="926547" y="967112"/>
                  </a:cubicBezTo>
                  <a:cubicBezTo>
                    <a:pt x="740730" y="1074393"/>
                    <a:pt x="668642" y="1143989"/>
                    <a:pt x="622677" y="1197863"/>
                  </a:cubicBezTo>
                  <a:cubicBezTo>
                    <a:pt x="555599" y="1276450"/>
                    <a:pt x="492360" y="1390031"/>
                    <a:pt x="404892" y="1547314"/>
                  </a:cubicBezTo>
                  <a:cubicBezTo>
                    <a:pt x="317047" y="1705133"/>
                    <a:pt x="204816" y="1906756"/>
                    <a:pt x="40135" y="2159090"/>
                  </a:cubicBezTo>
                  <a:lnTo>
                    <a:pt x="0" y="2219367"/>
                  </a:lnTo>
                  <a:lnTo>
                    <a:pt x="0" y="915659"/>
                  </a:lnTo>
                  <a:lnTo>
                    <a:pt x="58609" y="828051"/>
                  </a:lnTo>
                  <a:cubicBezTo>
                    <a:pt x="177453" y="670481"/>
                    <a:pt x="325846" y="538291"/>
                    <a:pt x="590688" y="385385"/>
                  </a:cubicBezTo>
                  <a:cubicBezTo>
                    <a:pt x="1032158" y="130559"/>
                    <a:pt x="1474329" y="3750"/>
                    <a:pt x="1951393" y="82"/>
                  </a:cubicBezTo>
                  <a:close/>
                </a:path>
              </a:pathLst>
            </a:custGeom>
            <a:gradFill>
              <a:gsLst>
                <a:gs pos="2000">
                  <a:schemeClr val="bg1">
                    <a:alpha val="10000"/>
                  </a:schemeClr>
                </a:gs>
                <a:gs pos="16000">
                  <a:schemeClr val="accent6">
                    <a:alpha val="10000"/>
                  </a:schemeClr>
                </a:gs>
                <a:gs pos="100000">
                  <a:schemeClr val="bg1">
                    <a:alpha val="10000"/>
                  </a:schemeClr>
                </a:gs>
                <a:gs pos="85000">
                  <a:schemeClr val="accent1">
                    <a:alpha val="10000"/>
                  </a:schemeClr>
                </a:gs>
              </a:gsLst>
              <a:lin ang="120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2A9D1364-B6A3-44CB-9FBA-C528F0CE909D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-19220" y="319367"/>
              <a:ext cx="5217957" cy="6100079"/>
            </a:xfrm>
            <a:custGeom>
              <a:avLst/>
              <a:gdLst>
                <a:gd name="connsiteX0" fmla="*/ 1951394 w 5217957"/>
                <a:gd name="connsiteY0" fmla="*/ 82 h 6100079"/>
                <a:gd name="connsiteX1" fmla="*/ 2855178 w 5217957"/>
                <a:gd name="connsiteY1" fmla="*/ 125419 h 6100079"/>
                <a:gd name="connsiteX2" fmla="*/ 4779341 w 5217957"/>
                <a:gd name="connsiteY2" fmla="*/ 1591542 h 6100079"/>
                <a:gd name="connsiteX3" fmla="*/ 5108574 w 5217957"/>
                <a:gd name="connsiteY3" fmla="*/ 4028416 h 6100079"/>
                <a:gd name="connsiteX4" fmla="*/ 3459359 w 5217957"/>
                <a:gd name="connsiteY4" fmla="*/ 5487716 h 6100079"/>
                <a:gd name="connsiteX5" fmla="*/ 1203275 w 5217957"/>
                <a:gd name="connsiteY5" fmla="*/ 6029534 h 6100079"/>
                <a:gd name="connsiteX6" fmla="*/ 59921 w 5217957"/>
                <a:gd name="connsiteY6" fmla="*/ 5396467 h 6100079"/>
                <a:gd name="connsiteX7" fmla="*/ 0 w 5217957"/>
                <a:gd name="connsiteY7" fmla="*/ 5333381 h 6100079"/>
                <a:gd name="connsiteX8" fmla="*/ 0 w 5217957"/>
                <a:gd name="connsiteY8" fmla="*/ 4427327 h 6100079"/>
                <a:gd name="connsiteX9" fmla="*/ 112056 w 5217957"/>
                <a:gd name="connsiteY9" fmla="*/ 4602502 h 6100079"/>
                <a:gd name="connsiteX10" fmla="*/ 443875 w 5217957"/>
                <a:gd name="connsiteY10" fmla="*/ 4989110 h 6100079"/>
                <a:gd name="connsiteX11" fmla="*/ 1348175 w 5217957"/>
                <a:gd name="connsiteY11" fmla="*/ 5488759 h 6100079"/>
                <a:gd name="connsiteX12" fmla="*/ 2221463 w 5217957"/>
                <a:gd name="connsiteY12" fmla="*/ 5461704 h 6100079"/>
                <a:gd name="connsiteX13" fmla="*/ 3179339 w 5217957"/>
                <a:gd name="connsiteY13" fmla="*/ 5003023 h 6100079"/>
                <a:gd name="connsiteX14" fmla="*/ 3599638 w 5217957"/>
                <a:gd name="connsiteY14" fmla="*/ 4775996 h 6100079"/>
                <a:gd name="connsiteX15" fmla="*/ 4259765 w 5217957"/>
                <a:gd name="connsiteY15" fmla="*/ 4374667 h 6100079"/>
                <a:gd name="connsiteX16" fmla="*/ 4567742 w 5217957"/>
                <a:gd name="connsiteY16" fmla="*/ 3883732 h 6100079"/>
                <a:gd name="connsiteX17" fmla="*/ 4631929 w 5217957"/>
                <a:gd name="connsiteY17" fmla="*/ 2833886 h 6100079"/>
                <a:gd name="connsiteX18" fmla="*/ 4296412 w 5217957"/>
                <a:gd name="connsiteY18" fmla="*/ 1874932 h 6100079"/>
                <a:gd name="connsiteX19" fmla="*/ 2710219 w 5217957"/>
                <a:gd name="connsiteY19" fmla="*/ 666410 h 6100079"/>
                <a:gd name="connsiteX20" fmla="*/ 1732642 w 5217957"/>
                <a:gd name="connsiteY20" fmla="*/ 573480 h 6100079"/>
                <a:gd name="connsiteX21" fmla="*/ 870621 w 5217957"/>
                <a:gd name="connsiteY21" fmla="*/ 870402 h 6100079"/>
                <a:gd name="connsiteX22" fmla="*/ 537555 w 5217957"/>
                <a:gd name="connsiteY22" fmla="*/ 1125324 h 6100079"/>
                <a:gd name="connsiteX23" fmla="*/ 306995 w 5217957"/>
                <a:gd name="connsiteY23" fmla="*/ 1493030 h 6100079"/>
                <a:gd name="connsiteX24" fmla="*/ 23579 w 5217957"/>
                <a:gd name="connsiteY24" fmla="*/ 1977465 h 6100079"/>
                <a:gd name="connsiteX25" fmla="*/ 0 w 5217957"/>
                <a:gd name="connsiteY25" fmla="*/ 2014291 h 6100079"/>
                <a:gd name="connsiteX26" fmla="*/ 0 w 5217957"/>
                <a:gd name="connsiteY26" fmla="*/ 915660 h 6100079"/>
                <a:gd name="connsiteX27" fmla="*/ 58609 w 5217957"/>
                <a:gd name="connsiteY27" fmla="*/ 828051 h 6100079"/>
                <a:gd name="connsiteX28" fmla="*/ 590689 w 5217957"/>
                <a:gd name="connsiteY28" fmla="*/ 385385 h 6100079"/>
                <a:gd name="connsiteX29" fmla="*/ 1951394 w 5217957"/>
                <a:gd name="connsiteY29" fmla="*/ 82 h 61000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5217957" h="6100079">
                  <a:moveTo>
                    <a:pt x="1951394" y="82"/>
                  </a:moveTo>
                  <a:cubicBezTo>
                    <a:pt x="2237632" y="-2119"/>
                    <a:pt x="2536431" y="40011"/>
                    <a:pt x="2855178" y="125419"/>
                  </a:cubicBezTo>
                  <a:cubicBezTo>
                    <a:pt x="3697704" y="351173"/>
                    <a:pt x="4370491" y="894159"/>
                    <a:pt x="4779341" y="1591542"/>
                  </a:cubicBezTo>
                  <a:cubicBezTo>
                    <a:pt x="5195535" y="2301324"/>
                    <a:pt x="5338357" y="3170855"/>
                    <a:pt x="5108574" y="4028416"/>
                  </a:cubicBezTo>
                  <a:cubicBezTo>
                    <a:pt x="4880820" y="4878406"/>
                    <a:pt x="4165604" y="5079965"/>
                    <a:pt x="3459359" y="5487716"/>
                  </a:cubicBezTo>
                  <a:cubicBezTo>
                    <a:pt x="2753115" y="5895466"/>
                    <a:pt x="2053265" y="6257288"/>
                    <a:pt x="1203275" y="6029534"/>
                  </a:cubicBezTo>
                  <a:cubicBezTo>
                    <a:pt x="739885" y="5905369"/>
                    <a:pt x="366400" y="5685345"/>
                    <a:pt x="59921" y="5396467"/>
                  </a:cubicBezTo>
                  <a:lnTo>
                    <a:pt x="0" y="5333381"/>
                  </a:lnTo>
                  <a:lnTo>
                    <a:pt x="0" y="4427327"/>
                  </a:lnTo>
                  <a:lnTo>
                    <a:pt x="112056" y="4602502"/>
                  </a:lnTo>
                  <a:cubicBezTo>
                    <a:pt x="215300" y="4749260"/>
                    <a:pt x="325419" y="4877443"/>
                    <a:pt x="443875" y="4989110"/>
                  </a:cubicBezTo>
                  <a:cubicBezTo>
                    <a:pt x="700709" y="5231113"/>
                    <a:pt x="996455" y="5394516"/>
                    <a:pt x="1348175" y="5488759"/>
                  </a:cubicBezTo>
                  <a:cubicBezTo>
                    <a:pt x="1633379" y="5565179"/>
                    <a:pt x="1910917" y="5556430"/>
                    <a:pt x="2221463" y="5461704"/>
                  </a:cubicBezTo>
                  <a:cubicBezTo>
                    <a:pt x="2541923" y="5363721"/>
                    <a:pt x="2870374" y="5181404"/>
                    <a:pt x="3179339" y="5003023"/>
                  </a:cubicBezTo>
                  <a:cubicBezTo>
                    <a:pt x="3323713" y="4919760"/>
                    <a:pt x="3463978" y="4846641"/>
                    <a:pt x="3599638" y="4775996"/>
                  </a:cubicBezTo>
                  <a:cubicBezTo>
                    <a:pt x="3862436" y="4639263"/>
                    <a:pt x="4089314" y="4521074"/>
                    <a:pt x="4259765" y="4374667"/>
                  </a:cubicBezTo>
                  <a:cubicBezTo>
                    <a:pt x="4418282" y="4238625"/>
                    <a:pt x="4513201" y="4087280"/>
                    <a:pt x="4567742" y="3883732"/>
                  </a:cubicBezTo>
                  <a:cubicBezTo>
                    <a:pt x="4660420" y="3537853"/>
                    <a:pt x="4682033" y="3184640"/>
                    <a:pt x="4631929" y="2833886"/>
                  </a:cubicBezTo>
                  <a:cubicBezTo>
                    <a:pt x="4583584" y="2494734"/>
                    <a:pt x="4470646" y="2172121"/>
                    <a:pt x="4296412" y="1874932"/>
                  </a:cubicBezTo>
                  <a:cubicBezTo>
                    <a:pt x="3944879" y="1275559"/>
                    <a:pt x="3381537" y="846289"/>
                    <a:pt x="2710219" y="666410"/>
                  </a:cubicBezTo>
                  <a:cubicBezTo>
                    <a:pt x="2349955" y="569877"/>
                    <a:pt x="2030161" y="539483"/>
                    <a:pt x="1732642" y="573480"/>
                  </a:cubicBezTo>
                  <a:cubicBezTo>
                    <a:pt x="1440866" y="606814"/>
                    <a:pt x="1158880" y="703976"/>
                    <a:pt x="870621" y="870402"/>
                  </a:cubicBezTo>
                  <a:cubicBezTo>
                    <a:pt x="670160" y="986048"/>
                    <a:pt x="589753" y="1064195"/>
                    <a:pt x="537555" y="1125324"/>
                  </a:cubicBezTo>
                  <a:cubicBezTo>
                    <a:pt x="463218" y="1212400"/>
                    <a:pt x="397708" y="1330125"/>
                    <a:pt x="306995" y="1493030"/>
                  </a:cubicBezTo>
                  <a:cubicBezTo>
                    <a:pt x="234596" y="1623167"/>
                    <a:pt x="145436" y="1783409"/>
                    <a:pt x="23579" y="1977465"/>
                  </a:cubicBezTo>
                  <a:lnTo>
                    <a:pt x="0" y="2014291"/>
                  </a:lnTo>
                  <a:lnTo>
                    <a:pt x="0" y="915660"/>
                  </a:lnTo>
                  <a:lnTo>
                    <a:pt x="58609" y="828051"/>
                  </a:lnTo>
                  <a:cubicBezTo>
                    <a:pt x="177453" y="670481"/>
                    <a:pt x="325847" y="538291"/>
                    <a:pt x="590689" y="385385"/>
                  </a:cubicBezTo>
                  <a:cubicBezTo>
                    <a:pt x="1032159" y="130559"/>
                    <a:pt x="1474330" y="3750"/>
                    <a:pt x="1951394" y="82"/>
                  </a:cubicBezTo>
                  <a:close/>
                </a:path>
              </a:pathLst>
            </a:custGeom>
            <a:gradFill>
              <a:gsLst>
                <a:gs pos="2000">
                  <a:schemeClr val="bg1">
                    <a:alpha val="10000"/>
                  </a:schemeClr>
                </a:gs>
                <a:gs pos="16000">
                  <a:schemeClr val="accent6">
                    <a:alpha val="10000"/>
                  </a:schemeClr>
                </a:gs>
                <a:gs pos="100000">
                  <a:schemeClr val="bg1">
                    <a:alpha val="10000"/>
                  </a:schemeClr>
                </a:gs>
                <a:gs pos="85000">
                  <a:schemeClr val="accent1">
                    <a:alpha val="10000"/>
                  </a:schemeClr>
                </a:gs>
              </a:gsLst>
              <a:lin ang="120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B5B8DF54-BBC5-4052-B7B0-72D517046C9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486" y="1441113"/>
            <a:ext cx="4733849" cy="4371974"/>
          </a:xfrm>
        </p:spPr>
        <p:txBody>
          <a:bodyPr>
            <a:normAutofit/>
          </a:bodyPr>
          <a:lstStyle/>
          <a:p>
            <a:r>
              <a:rPr lang="en-US" sz="3600" dirty="0">
                <a:solidFill>
                  <a:schemeClr val="tx2"/>
                </a:solidFill>
              </a:rPr>
              <a:t>IAB Focuses for 2025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037A565-54F4-41F9-8BDB-79DFE1E30C7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625130" y="956183"/>
            <a:ext cx="5221224" cy="5551677"/>
          </a:xfrm>
        </p:spPr>
        <p:txBody>
          <a:bodyPr anchor="ctr">
            <a:normAutofit fontScale="92500" lnSpcReduction="10000"/>
          </a:bodyPr>
          <a:lstStyle/>
          <a:p>
            <a:r>
              <a:rPr lang="en-US" sz="3200" dirty="0">
                <a:solidFill>
                  <a:schemeClr val="tx2"/>
                </a:solidFill>
              </a:rPr>
              <a:t>Maintain programming &amp; awards support</a:t>
            </a:r>
          </a:p>
          <a:p>
            <a:r>
              <a:rPr lang="en-US" sz="3200" dirty="0">
                <a:solidFill>
                  <a:schemeClr val="tx2"/>
                </a:solidFill>
              </a:rPr>
              <a:t>Deliver on member company initiatives</a:t>
            </a:r>
          </a:p>
          <a:p>
            <a:pPr lvl="1"/>
            <a:r>
              <a:rPr lang="en-US" sz="3200" dirty="0">
                <a:solidFill>
                  <a:schemeClr val="tx2"/>
                </a:solidFill>
              </a:rPr>
              <a:t>IAB Networking Sessions</a:t>
            </a:r>
          </a:p>
          <a:p>
            <a:pPr lvl="1"/>
            <a:r>
              <a:rPr lang="en-US" sz="3200" dirty="0">
                <a:solidFill>
                  <a:schemeClr val="tx2"/>
                </a:solidFill>
              </a:rPr>
              <a:t>IAB Meetings</a:t>
            </a:r>
          </a:p>
          <a:p>
            <a:r>
              <a:rPr lang="en-US" sz="3200" dirty="0">
                <a:solidFill>
                  <a:schemeClr val="tx2"/>
                </a:solidFill>
              </a:rPr>
              <a:t>Integrate smaller company members</a:t>
            </a:r>
          </a:p>
          <a:p>
            <a:r>
              <a:rPr lang="en-US" sz="3200" dirty="0">
                <a:solidFill>
                  <a:schemeClr val="tx2"/>
                </a:solidFill>
              </a:rPr>
              <a:t>Understanding value POLY and IAB provide in long-term hybrid environment</a:t>
            </a:r>
          </a:p>
          <a:p>
            <a:r>
              <a:rPr lang="en-US" sz="3200" dirty="0">
                <a:solidFill>
                  <a:schemeClr val="tx2"/>
                </a:solidFill>
              </a:rPr>
              <a:t>Balance with business office changes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7E59EAB8-58E3-F7ED-3F45-69309B09A42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787324" y="136551"/>
            <a:ext cx="1331632" cy="13271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6423259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07F52575-84BD-EADC-30E4-26415C09DA39}"/>
              </a:ext>
            </a:extLst>
          </p:cNvPr>
          <p:cNvGraphicFramePr>
            <a:graphicFrameLocks noGrp="1"/>
          </p:cNvGraphicFramePr>
          <p:nvPr/>
        </p:nvGraphicFramePr>
        <p:xfrm>
          <a:off x="2724505" y="879744"/>
          <a:ext cx="6721051" cy="5618331"/>
        </p:xfrm>
        <a:graphic>
          <a:graphicData uri="http://schemas.openxmlformats.org/drawingml/2006/table">
            <a:tbl>
              <a:tblPr firstRow="1" firstCol="1" bandRow="1">
                <a:tableStyleId>{00A15C55-8517-42AA-B614-E9B94910E393}</a:tableStyleId>
              </a:tblPr>
              <a:tblGrid>
                <a:gridCol w="2239073">
                  <a:extLst>
                    <a:ext uri="{9D8B030D-6E8A-4147-A177-3AD203B41FA5}">
                      <a16:colId xmlns:a16="http://schemas.microsoft.com/office/drawing/2014/main" val="2123545675"/>
                    </a:ext>
                  </a:extLst>
                </a:gridCol>
                <a:gridCol w="2240989">
                  <a:extLst>
                    <a:ext uri="{9D8B030D-6E8A-4147-A177-3AD203B41FA5}">
                      <a16:colId xmlns:a16="http://schemas.microsoft.com/office/drawing/2014/main" val="2152017806"/>
                    </a:ext>
                  </a:extLst>
                </a:gridCol>
                <a:gridCol w="2240989">
                  <a:extLst>
                    <a:ext uri="{9D8B030D-6E8A-4147-A177-3AD203B41FA5}">
                      <a16:colId xmlns:a16="http://schemas.microsoft.com/office/drawing/2014/main" val="1187291817"/>
                    </a:ext>
                  </a:extLst>
                </a:gridCol>
              </a:tblGrid>
              <a:tr h="345708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>
                          <a:solidFill>
                            <a:schemeClr val="bg1"/>
                          </a:solidFill>
                          <a:effectLst/>
                        </a:rPr>
                        <a:t> </a:t>
                      </a:r>
                      <a:endParaRPr lang="en-US" sz="20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Final 2024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>
                          <a:solidFill>
                            <a:schemeClr val="bg1"/>
                          </a:solidFill>
                          <a:effectLst/>
                        </a:rPr>
                        <a:t>Proposed 2025</a:t>
                      </a:r>
                      <a:endParaRPr lang="en-US" sz="20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3024681850"/>
                  </a:ext>
                </a:extLst>
              </a:tr>
              <a:tr h="414878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>
                          <a:solidFill>
                            <a:schemeClr val="bg1"/>
                          </a:solidFill>
                          <a:effectLst/>
                        </a:rPr>
                        <a:t>Income</a:t>
                      </a:r>
                      <a:endParaRPr lang="en-US" sz="20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b="1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$17,475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b="1" dirty="0">
                          <a:solidFill>
                            <a:schemeClr val="bg1"/>
                          </a:solidFill>
                          <a:effectLst/>
                        </a:rPr>
                        <a:t>$20,500</a:t>
                      </a:r>
                      <a:endParaRPr lang="en-US" sz="2000" b="1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1876927"/>
                  </a:ext>
                </a:extLst>
              </a:tr>
              <a:tr h="345708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>
                          <a:solidFill>
                            <a:schemeClr val="bg1"/>
                          </a:solidFill>
                          <a:effectLst/>
                        </a:rPr>
                        <a:t> </a:t>
                      </a:r>
                      <a:endParaRPr lang="en-US" sz="20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20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>
                          <a:solidFill>
                            <a:schemeClr val="bg1"/>
                          </a:solidFill>
                          <a:effectLst/>
                        </a:rPr>
                        <a:t> </a:t>
                      </a:r>
                      <a:endParaRPr lang="en-US" sz="20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91744869"/>
                  </a:ext>
                </a:extLst>
              </a:tr>
              <a:tr h="345708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>
                          <a:solidFill>
                            <a:schemeClr val="bg1"/>
                          </a:solidFill>
                          <a:effectLst/>
                        </a:rPr>
                        <a:t>Expenses</a:t>
                      </a:r>
                      <a:endParaRPr lang="en-US" sz="20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20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>
                          <a:solidFill>
                            <a:schemeClr val="bg1"/>
                          </a:solidFill>
                          <a:effectLst/>
                        </a:rPr>
                        <a:t> </a:t>
                      </a:r>
                      <a:endParaRPr lang="en-US" sz="20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811550207"/>
                  </a:ext>
                </a:extLst>
              </a:tr>
              <a:tr h="345708"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>
                          <a:solidFill>
                            <a:schemeClr val="bg1"/>
                          </a:solidFill>
                          <a:effectLst/>
                        </a:rPr>
                        <a:t>Networking</a:t>
                      </a:r>
                      <a:endParaRPr lang="en-US" sz="20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$7522.04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>
                          <a:solidFill>
                            <a:schemeClr val="bg1"/>
                          </a:solidFill>
                          <a:effectLst/>
                        </a:rPr>
                        <a:t>$7000.00</a:t>
                      </a:r>
                      <a:endParaRPr lang="en-US" sz="20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43238965"/>
                  </a:ext>
                </a:extLst>
              </a:tr>
              <a:tr h="345708"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>
                          <a:solidFill>
                            <a:schemeClr val="bg1"/>
                          </a:solidFill>
                          <a:effectLst/>
                        </a:rPr>
                        <a:t>Meetings</a:t>
                      </a:r>
                      <a:endParaRPr lang="en-US" sz="20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$3116.67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>
                          <a:solidFill>
                            <a:schemeClr val="bg1"/>
                          </a:solidFill>
                          <a:effectLst/>
                        </a:rPr>
                        <a:t>$5100.00</a:t>
                      </a:r>
                      <a:endParaRPr lang="en-US" sz="20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3832129166"/>
                  </a:ext>
                </a:extLst>
              </a:tr>
              <a:tr h="975889"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>
                          <a:solidFill>
                            <a:schemeClr val="bg1"/>
                          </a:solidFill>
                          <a:effectLst/>
                        </a:rPr>
                        <a:t>Awards</a:t>
                      </a:r>
                      <a:endParaRPr lang="en-US" sz="20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$3000.00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>
                          <a:solidFill>
                            <a:schemeClr val="bg1"/>
                          </a:solidFill>
                          <a:effectLst/>
                        </a:rPr>
                        <a:t>$5500.00</a:t>
                      </a: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918835237"/>
                  </a:ext>
                </a:extLst>
              </a:tr>
              <a:tr h="747023"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>
                          <a:solidFill>
                            <a:schemeClr val="bg1"/>
                          </a:solidFill>
                          <a:effectLst/>
                        </a:rPr>
                        <a:t>Programming</a:t>
                      </a:r>
                    </a:p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>
                          <a:solidFill>
                            <a:schemeClr val="bg1"/>
                          </a:solidFill>
                          <a:effectLst/>
                        </a:rPr>
                        <a:t>(no virtual)</a:t>
                      </a:r>
                      <a:endParaRPr lang="en-US" sz="20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$3250.00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>
                          <a:solidFill>
                            <a:schemeClr val="bg1"/>
                          </a:solidFill>
                          <a:effectLst/>
                        </a:rPr>
                        <a:t>$1000.00</a:t>
                      </a:r>
                      <a:endParaRPr lang="en-US" sz="20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72189992"/>
                  </a:ext>
                </a:extLst>
              </a:tr>
              <a:tr h="645707"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>
                          <a:solidFill>
                            <a:schemeClr val="bg1"/>
                          </a:solidFill>
                          <a:effectLst/>
                        </a:rPr>
                        <a:t>Other (shirts, pins)</a:t>
                      </a:r>
                      <a:endParaRPr lang="en-US" sz="20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$0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>
                          <a:solidFill>
                            <a:schemeClr val="bg1"/>
                          </a:solidFill>
                          <a:effectLst/>
                        </a:rPr>
                        <a:t>$0</a:t>
                      </a:r>
                      <a:endParaRPr lang="en-US" sz="20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651332630"/>
                  </a:ext>
                </a:extLst>
              </a:tr>
              <a:tr h="414878"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>
                          <a:solidFill>
                            <a:schemeClr val="bg1"/>
                          </a:solidFill>
                          <a:effectLst/>
                        </a:rPr>
                        <a:t>subtotal</a:t>
                      </a:r>
                      <a:endParaRPr lang="en-US" sz="20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b="1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$16,888.71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b="1" dirty="0">
                          <a:solidFill>
                            <a:schemeClr val="bg1"/>
                          </a:solidFill>
                          <a:effectLst/>
                        </a:rPr>
                        <a:t>$18,600.00</a:t>
                      </a:r>
                      <a:endParaRPr lang="en-US" sz="2000" b="1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3709082559"/>
                  </a:ext>
                </a:extLst>
              </a:tr>
              <a:tr h="345708"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>
                          <a:solidFill>
                            <a:schemeClr val="bg1"/>
                          </a:solidFill>
                          <a:effectLst/>
                        </a:rPr>
                        <a:t> </a:t>
                      </a:r>
                      <a:endParaRPr lang="en-US" sz="20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20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>
                          <a:solidFill>
                            <a:schemeClr val="bg1"/>
                          </a:solidFill>
                          <a:effectLst/>
                        </a:rPr>
                        <a:t> </a:t>
                      </a:r>
                      <a:endParaRPr lang="en-US" sz="20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971359129"/>
                  </a:ext>
                </a:extLst>
              </a:tr>
              <a:tr h="345708"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>
                          <a:solidFill>
                            <a:schemeClr val="bg1"/>
                          </a:solidFill>
                          <a:effectLst/>
                        </a:rPr>
                        <a:t>Bal</a:t>
                      </a:r>
                      <a:endParaRPr lang="en-US" sz="20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b="1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$586.29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b="1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$1900.00</a:t>
                      </a: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677898046"/>
                  </a:ext>
                </a:extLst>
              </a:tr>
            </a:tbl>
          </a:graphicData>
        </a:graphic>
      </p:graphicFrame>
      <p:sp>
        <p:nvSpPr>
          <p:cNvPr id="8" name="Title 6">
            <a:extLst>
              <a:ext uri="{FF2B5EF4-FFF2-40B4-BE49-F238E27FC236}">
                <a16:creationId xmlns:a16="http://schemas.microsoft.com/office/drawing/2014/main" id="{9C78232E-1F15-1665-D88D-8C7FB504E1D0}"/>
              </a:ext>
            </a:extLst>
          </p:cNvPr>
          <p:cNvSpPr txBox="1">
            <a:spLocks/>
          </p:cNvSpPr>
          <p:nvPr/>
        </p:nvSpPr>
        <p:spPr>
          <a:xfrm>
            <a:off x="271724" y="136551"/>
            <a:ext cx="10375459" cy="71607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2024 IAB Budget Summary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CAD773FF-5C2F-D1A9-3DA6-F53170D6FA2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787324" y="136551"/>
            <a:ext cx="1331632" cy="13271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8072727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24906C0-FE0A-0D9B-7E2C-BC148E7AA2C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39828" y="1546446"/>
            <a:ext cx="5556172" cy="1099272"/>
          </a:xfrm>
        </p:spPr>
        <p:txBody>
          <a:bodyPr>
            <a:normAutofit/>
          </a:bodyPr>
          <a:lstStyle/>
          <a:p>
            <a:pPr marL="0" marR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700" b="1" dirty="0"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Industrial Innovations in Polymer Science (IIPS) Symposium</a:t>
            </a:r>
          </a:p>
          <a:p>
            <a:pPr marL="0" marR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7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Organizers: </a:t>
            </a:r>
            <a:r>
              <a:rPr lang="en-US" sz="1700" dirty="0">
                <a:latin typeface="Calibri" panose="020F0502020204030204" pitchFamily="34" charset="0"/>
                <a:ea typeface="Calibri" panose="020F0502020204030204" pitchFamily="34" charset="0"/>
              </a:rPr>
              <a:t>Michael Petr, Rohini Gupta, </a:t>
            </a:r>
            <a:r>
              <a:rPr lang="en-US" sz="1700" dirty="0" err="1">
                <a:latin typeface="Calibri" panose="020F0502020204030204" pitchFamily="34" charset="0"/>
                <a:ea typeface="Calibri" panose="020F0502020204030204" pitchFamily="34" charset="0"/>
              </a:rPr>
              <a:t>Manesh</a:t>
            </a:r>
            <a:r>
              <a:rPr lang="en-US" sz="1700" dirty="0">
                <a:latin typeface="Calibri" panose="020F0502020204030204" pitchFamily="34" charset="0"/>
                <a:ea typeface="Calibri" panose="020F0502020204030204" pitchFamily="34" charset="0"/>
              </a:rPr>
              <a:t> </a:t>
            </a:r>
            <a:r>
              <a:rPr lang="en-US" sz="1700" dirty="0" err="1">
                <a:latin typeface="Calibri" panose="020F0502020204030204" pitchFamily="34" charset="0"/>
                <a:ea typeface="Calibri" panose="020F0502020204030204" pitchFamily="34" charset="0"/>
              </a:rPr>
              <a:t>Sekharan</a:t>
            </a:r>
            <a:endParaRPr lang="en-US" sz="1700" dirty="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0" marR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700" dirty="0"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Monday, August 18th  - AM Session</a:t>
            </a:r>
            <a:endParaRPr lang="en-US" sz="1700" dirty="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0" marR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700" dirty="0"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Hall D, Room 6</a:t>
            </a:r>
            <a:endParaRPr lang="en-US" sz="1700" dirty="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</p:txBody>
      </p:sp>
      <p:sp>
        <p:nvSpPr>
          <p:cNvPr id="10" name="Title 6">
            <a:extLst>
              <a:ext uri="{FF2B5EF4-FFF2-40B4-BE49-F238E27FC236}">
                <a16:creationId xmlns:a16="http://schemas.microsoft.com/office/drawing/2014/main" id="{911FC0B3-D47D-CD74-3730-877DF2281238}"/>
              </a:ext>
            </a:extLst>
          </p:cNvPr>
          <p:cNvSpPr txBox="1">
            <a:spLocks/>
          </p:cNvSpPr>
          <p:nvPr/>
        </p:nvSpPr>
        <p:spPr>
          <a:xfrm>
            <a:off x="271724" y="136551"/>
            <a:ext cx="10375459" cy="71607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Fall 2025 Programming and Networking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96EC5C64-EFF0-5BE4-5C87-C739453AD25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787324" y="136551"/>
            <a:ext cx="1331632" cy="1327148"/>
          </a:xfrm>
          <a:prstGeom prst="rect">
            <a:avLst/>
          </a:prstGeom>
        </p:spPr>
      </p:pic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9379895D-3165-40EE-465A-F945D0CEEFFD}"/>
              </a:ext>
            </a:extLst>
          </p:cNvPr>
          <p:cNvSpPr txBox="1">
            <a:spLocks/>
          </p:cNvSpPr>
          <p:nvPr/>
        </p:nvSpPr>
        <p:spPr>
          <a:xfrm>
            <a:off x="6095999" y="1555312"/>
            <a:ext cx="6022957" cy="3017093"/>
          </a:xfrm>
          <a:prstGeom prst="rect">
            <a:avLst/>
          </a:prstGeom>
        </p:spPr>
        <p:txBody>
          <a:bodyPr vert="horz" lIns="91440" tIns="45720" rIns="91440" bIns="45720" rtlCol="0">
            <a:normAutofit fontScale="92500" lnSpcReduction="1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0"/>
              </a:spcBef>
              <a:buNone/>
            </a:pPr>
            <a:r>
              <a:rPr lang="en-US" sz="1800" b="1" dirty="0">
                <a:latin typeface="Calibri" panose="020F0502020204030204" pitchFamily="34" charset="0"/>
                <a:ea typeface="Times New Roman" panose="02020603050405020304" pitchFamily="18" charset="0"/>
              </a:rPr>
              <a:t>IAB Networking Reception</a:t>
            </a:r>
            <a:endParaRPr lang="en-US" sz="1800" dirty="0"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0" indent="0">
              <a:spcBef>
                <a:spcPts val="0"/>
              </a:spcBef>
              <a:buNone/>
            </a:pPr>
            <a:r>
              <a:rPr lang="en-US" sz="1800" dirty="0">
                <a:latin typeface="Calibri" panose="020F0502020204030204" pitchFamily="34" charset="0"/>
                <a:ea typeface="Times New Roman" panose="02020603050405020304" pitchFamily="18" charset="0"/>
              </a:rPr>
              <a:t>Monday, August 18</a:t>
            </a:r>
            <a:r>
              <a:rPr lang="en-US" sz="1800" baseline="30000" dirty="0">
                <a:latin typeface="Calibri" panose="020F0502020204030204" pitchFamily="34" charset="0"/>
                <a:ea typeface="Times New Roman" panose="02020603050405020304" pitchFamily="18" charset="0"/>
              </a:rPr>
              <a:t>th</a:t>
            </a:r>
            <a:r>
              <a:rPr lang="en-US" sz="1800" dirty="0">
                <a:latin typeface="Calibri" panose="020F0502020204030204" pitchFamily="34" charset="0"/>
                <a:ea typeface="Times New Roman" panose="02020603050405020304" pitchFamily="18" charset="0"/>
              </a:rPr>
              <a:t>, 6:00-8:00 PM</a:t>
            </a:r>
            <a:endParaRPr lang="en-US" sz="1800" dirty="0"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0" indent="0">
              <a:spcBef>
                <a:spcPts val="0"/>
              </a:spcBef>
              <a:buNone/>
            </a:pPr>
            <a:r>
              <a:rPr lang="en-US" sz="1800" dirty="0">
                <a:latin typeface="Calibri" panose="020F0502020204030204" pitchFamily="34" charset="0"/>
                <a:ea typeface="Times New Roman" panose="02020603050405020304" pitchFamily="18" charset="0"/>
              </a:rPr>
              <a:t>Morris American Bar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800" dirty="0">
                <a:latin typeface="Calibri" panose="020F0502020204030204" pitchFamily="34" charset="0"/>
                <a:ea typeface="Times New Roman" panose="02020603050405020304" pitchFamily="18" charset="0"/>
              </a:rPr>
              <a:t>1020 7</a:t>
            </a:r>
            <a:r>
              <a:rPr lang="en-US" sz="1800" baseline="30000" dirty="0">
                <a:latin typeface="Calibri" panose="020F0502020204030204" pitchFamily="34" charset="0"/>
                <a:ea typeface="Times New Roman" panose="02020603050405020304" pitchFamily="18" charset="0"/>
              </a:rPr>
              <a:t>th</a:t>
            </a:r>
            <a:r>
              <a:rPr lang="en-US" sz="1800" dirty="0">
                <a:latin typeface="Calibri" panose="020F0502020204030204" pitchFamily="34" charset="0"/>
                <a:ea typeface="Times New Roman" panose="02020603050405020304" pitchFamily="18" charset="0"/>
              </a:rPr>
              <a:t> St NW, Washington DC</a:t>
            </a:r>
          </a:p>
          <a:p>
            <a:pPr marL="0" indent="0">
              <a:spcBef>
                <a:spcPts val="0"/>
              </a:spcBef>
              <a:buNone/>
            </a:pPr>
            <a:endParaRPr lang="en-US" sz="1800" dirty="0">
              <a:latin typeface="Calibri" panose="020F0502020204030204" pitchFamily="34" charset="0"/>
              <a:ea typeface="Times New Roman" panose="02020603050405020304" pitchFamily="18" charset="0"/>
            </a:endParaRPr>
          </a:p>
          <a:p>
            <a:pPr marL="0" indent="0">
              <a:spcBef>
                <a:spcPts val="0"/>
              </a:spcBef>
              <a:buNone/>
            </a:pPr>
            <a:r>
              <a:rPr lang="en-US" sz="1800" i="1" dirty="0">
                <a:latin typeface="Calibri" panose="020F0502020204030204" pitchFamily="34" charset="0"/>
                <a:ea typeface="Times New Roman" panose="02020603050405020304" pitchFamily="18" charset="0"/>
              </a:rPr>
              <a:t>IAB Members, POLY </a:t>
            </a:r>
            <a:r>
              <a:rPr lang="en-US" sz="2000" i="1" dirty="0">
                <a:latin typeface="Calibri" panose="020F0502020204030204" pitchFamily="34" charset="0"/>
                <a:ea typeface="Times New Roman" panose="02020603050405020304" pitchFamily="18" charset="0"/>
              </a:rPr>
              <a:t>ExCom</a:t>
            </a:r>
            <a:r>
              <a:rPr lang="en-US" sz="1800" i="1" dirty="0">
                <a:latin typeface="Calibri" panose="020F0502020204030204" pitchFamily="34" charset="0"/>
                <a:ea typeface="Times New Roman" panose="02020603050405020304" pitchFamily="18" charset="0"/>
              </a:rPr>
              <a:t> Officers, and potential Industrial representatives welcome</a:t>
            </a:r>
          </a:p>
          <a:p>
            <a:pPr marL="0" indent="0">
              <a:spcBef>
                <a:spcPts val="0"/>
              </a:spcBef>
              <a:buNone/>
            </a:pPr>
            <a:endParaRPr lang="en-US" sz="1800" dirty="0"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0" indent="0">
              <a:spcBef>
                <a:spcPts val="0"/>
              </a:spcBef>
              <a:buNone/>
            </a:pPr>
            <a:r>
              <a:rPr lang="en-US" sz="1800" b="1" dirty="0">
                <a:latin typeface="Calibri" panose="020F0502020204030204" pitchFamily="34" charset="0"/>
                <a:ea typeface="Times New Roman" panose="02020603050405020304" pitchFamily="18" charset="0"/>
              </a:rPr>
              <a:t>Industrial Advisory Board Meeting</a:t>
            </a:r>
            <a:endParaRPr lang="en-US" sz="1800" dirty="0"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0" indent="0">
              <a:spcBef>
                <a:spcPts val="0"/>
              </a:spcBef>
              <a:buNone/>
            </a:pPr>
            <a:r>
              <a:rPr lang="en-US" sz="1800" dirty="0">
                <a:latin typeface="Calibri" panose="020F0502020204030204" pitchFamily="34" charset="0"/>
                <a:ea typeface="Times New Roman" panose="02020603050405020304" pitchFamily="18" charset="0"/>
              </a:rPr>
              <a:t>Tuesday, August 19</a:t>
            </a:r>
            <a:r>
              <a:rPr lang="en-US" sz="1800" baseline="30000" dirty="0">
                <a:latin typeface="Calibri" panose="020F0502020204030204" pitchFamily="34" charset="0"/>
                <a:ea typeface="Times New Roman" panose="02020603050405020304" pitchFamily="18" charset="0"/>
              </a:rPr>
              <a:t>th</a:t>
            </a:r>
            <a:r>
              <a:rPr lang="en-US" sz="1800" dirty="0">
                <a:latin typeface="Calibri" panose="020F0502020204030204" pitchFamily="34" charset="0"/>
                <a:ea typeface="Times New Roman" panose="02020603050405020304" pitchFamily="18" charset="0"/>
              </a:rPr>
              <a:t> (café), 7:30 am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800" dirty="0">
                <a:latin typeface="Calibri" panose="020F0502020204030204" pitchFamily="34" charset="0"/>
                <a:ea typeface="Times New Roman" panose="02020603050405020304" pitchFamily="18" charset="0"/>
              </a:rPr>
              <a:t>Baker’s Daughter Café &amp; Market, 1201 K St NW, Washington DC</a:t>
            </a:r>
          </a:p>
          <a:p>
            <a:pPr marL="0" indent="0">
              <a:spcBef>
                <a:spcPts val="0"/>
              </a:spcBef>
              <a:buNone/>
            </a:pPr>
            <a:endParaRPr lang="en-US" sz="1800" dirty="0">
              <a:latin typeface="Calibri" panose="020F0502020204030204" pitchFamily="34" charset="0"/>
              <a:ea typeface="Times New Roman" panose="02020603050405020304" pitchFamily="18" charset="0"/>
            </a:endParaRPr>
          </a:p>
          <a:p>
            <a:pPr marL="0" indent="0">
              <a:spcBef>
                <a:spcPts val="0"/>
              </a:spcBef>
              <a:buNone/>
            </a:pPr>
            <a:r>
              <a:rPr lang="en-US" sz="1800" i="1" dirty="0">
                <a:latin typeface="Calibri" panose="020F0502020204030204" pitchFamily="34" charset="0"/>
                <a:ea typeface="Times New Roman" panose="02020603050405020304" pitchFamily="18" charset="0"/>
              </a:rPr>
              <a:t>IAB Member Company Representatives, POLY </a:t>
            </a:r>
            <a:r>
              <a:rPr lang="en-US" sz="2000" i="1" dirty="0">
                <a:latin typeface="Calibri" panose="020F0502020204030204" pitchFamily="34" charset="0"/>
                <a:ea typeface="Times New Roman" panose="02020603050405020304" pitchFamily="18" charset="0"/>
              </a:rPr>
              <a:t>ExCom</a:t>
            </a:r>
            <a:r>
              <a:rPr lang="en-US" sz="1800" i="1" dirty="0">
                <a:latin typeface="Calibri" panose="020F0502020204030204" pitchFamily="34" charset="0"/>
                <a:ea typeface="Times New Roman" panose="02020603050405020304" pitchFamily="18" charset="0"/>
              </a:rPr>
              <a:t> Officers Only</a:t>
            </a: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15552F9B-90ED-0C34-7A3E-533B2DA08667}"/>
              </a:ext>
            </a:extLst>
          </p:cNvPr>
          <p:cNvGrpSpPr/>
          <p:nvPr/>
        </p:nvGrpSpPr>
        <p:grpSpPr>
          <a:xfrm>
            <a:off x="1094601" y="2704867"/>
            <a:ext cx="3651019" cy="717981"/>
            <a:chOff x="1013578" y="5096152"/>
            <a:chExt cx="4024255" cy="791379"/>
          </a:xfrm>
        </p:grpSpPr>
        <p:pic>
          <p:nvPicPr>
            <p:cNvPr id="1028" name="Picture 4" descr="Dow Chemical Company - Wikipedia">
              <a:extLst>
                <a:ext uri="{FF2B5EF4-FFF2-40B4-BE49-F238E27FC236}">
                  <a16:creationId xmlns:a16="http://schemas.microsoft.com/office/drawing/2014/main" id="{E750CFA5-DC1F-4725-A11A-C875ED70A43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13578" y="5096152"/>
              <a:ext cx="2093097" cy="73612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grpSp>
          <p:nvGrpSpPr>
            <p:cNvPr id="7" name="Group 6">
              <a:extLst>
                <a:ext uri="{FF2B5EF4-FFF2-40B4-BE49-F238E27FC236}">
                  <a16:creationId xmlns:a16="http://schemas.microsoft.com/office/drawing/2014/main" id="{60F7CDC8-7645-73F6-36AB-209D9AD5D1C2}"/>
                </a:ext>
              </a:extLst>
            </p:cNvPr>
            <p:cNvGrpSpPr/>
            <p:nvPr/>
          </p:nvGrpSpPr>
          <p:grpSpPr>
            <a:xfrm>
              <a:off x="3462673" y="5096152"/>
              <a:ext cx="1575160" cy="791379"/>
              <a:chOff x="1103376" y="3520385"/>
              <a:chExt cx="2211671" cy="1111170"/>
            </a:xfrm>
          </p:grpSpPr>
          <p:sp>
            <p:nvSpPr>
              <p:cNvPr id="6" name="Rectangle 5">
                <a:extLst>
                  <a:ext uri="{FF2B5EF4-FFF2-40B4-BE49-F238E27FC236}">
                    <a16:creationId xmlns:a16="http://schemas.microsoft.com/office/drawing/2014/main" id="{B0C72886-E08F-6D4B-3E9C-253E4DEBCEA5}"/>
                  </a:ext>
                </a:extLst>
              </p:cNvPr>
              <p:cNvSpPr/>
              <p:nvPr/>
            </p:nvSpPr>
            <p:spPr>
              <a:xfrm>
                <a:off x="1103376" y="3520385"/>
                <a:ext cx="2211671" cy="1111170"/>
              </a:xfrm>
              <a:prstGeom prst="rect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pic>
            <p:nvPicPr>
              <p:cNvPr id="4" name="Picture 3">
                <a:extLst>
                  <a:ext uri="{FF2B5EF4-FFF2-40B4-BE49-F238E27FC236}">
                    <a16:creationId xmlns:a16="http://schemas.microsoft.com/office/drawing/2014/main" id="{F5409270-C353-3A58-28CC-CA6F4BF7486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1190937" y="3717853"/>
                <a:ext cx="2036548" cy="736127"/>
              </a:xfrm>
              <a:prstGeom prst="rect">
                <a:avLst/>
              </a:prstGeom>
            </p:spPr>
          </p:pic>
        </p:grpSp>
      </p:grp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67A6F532-76D0-284A-3734-47ACA5855764}"/>
              </a:ext>
            </a:extLst>
          </p:cNvPr>
          <p:cNvSpPr txBox="1">
            <a:spLocks/>
          </p:cNvSpPr>
          <p:nvPr/>
        </p:nvSpPr>
        <p:spPr>
          <a:xfrm>
            <a:off x="556982" y="3662647"/>
            <a:ext cx="5556172" cy="109927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US" sz="1700" b="1" dirty="0">
                <a:latin typeface="Calibri" panose="020F0502020204030204" pitchFamily="34" charset="0"/>
                <a:ea typeface="Times New Roman" panose="02020603050405020304" pitchFamily="18" charset="0"/>
              </a:rPr>
              <a:t>The Young Industrial Polymer Scientist Award (Jeff Ting)</a:t>
            </a:r>
          </a:p>
          <a:p>
            <a:pPr marL="0" indent="0"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US" sz="1700" dirty="0">
                <a:latin typeface="Calibri" panose="020F0502020204030204" pitchFamily="34" charset="0"/>
                <a:ea typeface="Calibri" panose="020F0502020204030204" pitchFamily="34" charset="0"/>
              </a:rPr>
              <a:t>Organizer: Shashi Murthy</a:t>
            </a:r>
          </a:p>
          <a:p>
            <a:pPr marL="0" indent="0"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US" sz="1700" dirty="0">
                <a:latin typeface="Calibri" panose="020F0502020204030204" pitchFamily="34" charset="0"/>
                <a:ea typeface="Times New Roman" panose="02020603050405020304" pitchFamily="18" charset="0"/>
              </a:rPr>
              <a:t>Monday, August 18th  - PM Session</a:t>
            </a:r>
            <a:endParaRPr lang="en-US" sz="1700" dirty="0"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0" indent="0"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US" sz="1700" dirty="0">
                <a:latin typeface="Calibri" panose="020F0502020204030204" pitchFamily="34" charset="0"/>
                <a:ea typeface="Times New Roman" panose="02020603050405020304" pitchFamily="18" charset="0"/>
              </a:rPr>
              <a:t>Hall D, Room 6</a:t>
            </a:r>
            <a:endParaRPr lang="en-US" sz="1700" dirty="0">
              <a:latin typeface="Calibri" panose="020F0502020204030204" pitchFamily="34" charset="0"/>
              <a:ea typeface="Calibri" panose="020F0502020204030204" pitchFamily="34" charset="0"/>
            </a:endParaRP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C3CDD14F-047F-9A1A-8FE8-2D28CBA84F16}"/>
              </a:ext>
            </a:extLst>
          </p:cNvPr>
          <p:cNvSpPr txBox="1">
            <a:spLocks/>
          </p:cNvSpPr>
          <p:nvPr/>
        </p:nvSpPr>
        <p:spPr>
          <a:xfrm>
            <a:off x="538465" y="4930419"/>
            <a:ext cx="5556172" cy="109927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US" sz="1700" b="1" dirty="0">
                <a:latin typeface="Calibri" panose="020F0502020204030204" pitchFamily="34" charset="0"/>
                <a:ea typeface="Times New Roman" panose="02020603050405020304" pitchFamily="18" charset="0"/>
              </a:rPr>
              <a:t>Next Generation Materials Discovery and Production</a:t>
            </a:r>
          </a:p>
          <a:p>
            <a:pPr marL="0" indent="0"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US" sz="1700" dirty="0">
                <a:latin typeface="Calibri" panose="020F0502020204030204" pitchFamily="34" charset="0"/>
                <a:ea typeface="Calibri" panose="020F0502020204030204" pitchFamily="34" charset="0"/>
              </a:rPr>
              <a:t>Organizer: Mike Sims</a:t>
            </a:r>
          </a:p>
          <a:p>
            <a:pPr marL="0" indent="0"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US" sz="1700" dirty="0">
                <a:latin typeface="Calibri" panose="020F0502020204030204" pitchFamily="34" charset="0"/>
                <a:ea typeface="Times New Roman" panose="02020603050405020304" pitchFamily="18" charset="0"/>
              </a:rPr>
              <a:t>Wednesday, August 20th  - AM, PM Sessions</a:t>
            </a:r>
            <a:endParaRPr lang="en-US" sz="1700" dirty="0"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0" indent="0"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US" sz="1700" dirty="0">
                <a:latin typeface="Calibri" panose="020F0502020204030204" pitchFamily="34" charset="0"/>
                <a:ea typeface="Times New Roman" panose="02020603050405020304" pitchFamily="18" charset="0"/>
              </a:rPr>
              <a:t>Hall D, Room 7</a:t>
            </a:r>
            <a:endParaRPr lang="en-US" sz="1700" dirty="0">
              <a:latin typeface="Calibri" panose="020F0502020204030204" pitchFamily="34" charset="0"/>
              <a:ea typeface="Calibri" panose="020F0502020204030204" pitchFamily="34" charset="0"/>
            </a:endParaRP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7A510ABB-6121-9054-2912-D687F12F1A6C}"/>
              </a:ext>
            </a:extLst>
          </p:cNvPr>
          <p:cNvGrpSpPr/>
          <p:nvPr/>
        </p:nvGrpSpPr>
        <p:grpSpPr>
          <a:xfrm>
            <a:off x="6319452" y="4761919"/>
            <a:ext cx="5556172" cy="1462579"/>
            <a:chOff x="5853715" y="4761918"/>
            <a:chExt cx="6391615" cy="1682497"/>
          </a:xfrm>
        </p:grpSpPr>
        <p:pic>
          <p:nvPicPr>
            <p:cNvPr id="14" name="Picture 13">
              <a:extLst>
                <a:ext uri="{FF2B5EF4-FFF2-40B4-BE49-F238E27FC236}">
                  <a16:creationId xmlns:a16="http://schemas.microsoft.com/office/drawing/2014/main" id="{A4A0B916-849C-BBFE-A693-F90340806B6B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5853715" y="4761919"/>
              <a:ext cx="3328014" cy="1682496"/>
            </a:xfrm>
            <a:prstGeom prst="rect">
              <a:avLst/>
            </a:prstGeom>
          </p:spPr>
        </p:pic>
        <p:pic>
          <p:nvPicPr>
            <p:cNvPr id="15" name="Picture 14">
              <a:extLst>
                <a:ext uri="{FF2B5EF4-FFF2-40B4-BE49-F238E27FC236}">
                  <a16:creationId xmlns:a16="http://schemas.microsoft.com/office/drawing/2014/main" id="{4170E3A1-3E69-7B5E-44E9-B99F71F1E4CC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9346733" y="4761918"/>
              <a:ext cx="1659811" cy="1678253"/>
            </a:xfrm>
            <a:prstGeom prst="rect">
              <a:avLst/>
            </a:prstGeom>
          </p:spPr>
        </p:pic>
        <p:pic>
          <p:nvPicPr>
            <p:cNvPr id="16" name="Picture 15">
              <a:extLst>
                <a:ext uri="{FF2B5EF4-FFF2-40B4-BE49-F238E27FC236}">
                  <a16:creationId xmlns:a16="http://schemas.microsoft.com/office/drawing/2014/main" id="{3F0D101F-1582-85BE-C17C-6EAC02424AA9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11171548" y="4761919"/>
              <a:ext cx="1073782" cy="1678253"/>
            </a:xfrm>
            <a:prstGeom prst="rect">
              <a:avLst/>
            </a:prstGeom>
          </p:spPr>
        </p:pic>
      </p:grpSp>
      <p:pic>
        <p:nvPicPr>
          <p:cNvPr id="19" name="Picture 6" descr="Syensqo - Wikipedia">
            <a:extLst>
              <a:ext uri="{FF2B5EF4-FFF2-40B4-BE49-F238E27FC236}">
                <a16:creationId xmlns:a16="http://schemas.microsoft.com/office/drawing/2014/main" id="{FBB78748-032F-457E-7D16-E51A222B4DA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76825" y="6145695"/>
            <a:ext cx="1268795" cy="4132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" name="Picture 19" descr="A white text on a black background&#10;&#10;Description automatically generated">
            <a:extLst>
              <a:ext uri="{FF2B5EF4-FFF2-40B4-BE49-F238E27FC236}">
                <a16:creationId xmlns:a16="http://schemas.microsoft.com/office/drawing/2014/main" id="{D8292E55-967E-09CA-2D18-73EF9FD42893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02796" y="6198191"/>
            <a:ext cx="1690774" cy="3082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8260205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24906C0-FE0A-0D9B-7E2C-BC148E7AA2C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8214" y="1555312"/>
            <a:ext cx="5595021" cy="2843026"/>
          </a:xfrm>
        </p:spPr>
        <p:txBody>
          <a:bodyPr>
            <a:normAutofit lnSpcReduction="10000"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US" sz="1700" b="1" dirty="0">
                <a:latin typeface="Calibri" panose="020F0502020204030204" pitchFamily="34" charset="0"/>
                <a:ea typeface="Times New Roman" panose="02020603050405020304" pitchFamily="18" charset="0"/>
              </a:rPr>
              <a:t>Industrial Innovations in Polymer Science </a:t>
            </a:r>
            <a:r>
              <a:rPr lang="en-US" sz="1700" b="1" dirty="0"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symposium</a:t>
            </a:r>
            <a:endParaRPr lang="en-US" sz="1700" b="1" dirty="0">
              <a:latin typeface="Calibri" panose="020F0502020204030204" pitchFamily="34" charset="0"/>
              <a:ea typeface="Times New Roman" panose="02020603050405020304" pitchFamily="18" charset="0"/>
            </a:endParaRPr>
          </a:p>
          <a:p>
            <a:pPr marL="0" indent="0">
              <a:spcBef>
                <a:spcPts val="0"/>
              </a:spcBef>
              <a:buNone/>
            </a:pPr>
            <a:r>
              <a:rPr lang="en-US" sz="1700" dirty="0">
                <a:latin typeface="Calibri" panose="020F0502020204030204" pitchFamily="34" charset="0"/>
                <a:ea typeface="Times New Roman" panose="02020603050405020304" pitchFamily="18" charset="0"/>
              </a:rPr>
              <a:t>Organizers: Kapil Dev </a:t>
            </a:r>
            <a:r>
              <a:rPr lang="en-US" sz="1700" dirty="0" err="1">
                <a:latin typeface="Calibri" panose="020F0502020204030204" pitchFamily="34" charset="0"/>
                <a:ea typeface="Times New Roman" panose="02020603050405020304" pitchFamily="18" charset="0"/>
              </a:rPr>
              <a:t>Sayala</a:t>
            </a:r>
            <a:r>
              <a:rPr lang="en-US" sz="1700" dirty="0">
                <a:latin typeface="Calibri" panose="020F0502020204030204" pitchFamily="34" charset="0"/>
                <a:ea typeface="Times New Roman" panose="02020603050405020304" pitchFamily="18" charset="0"/>
              </a:rPr>
              <a:t>, 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700" dirty="0">
                <a:latin typeface="Calibri" panose="020F0502020204030204" pitchFamily="34" charset="0"/>
                <a:ea typeface="Times New Roman" panose="02020603050405020304" pitchFamily="18" charset="0"/>
              </a:rPr>
              <a:t>Atlanta, GA</a:t>
            </a:r>
          </a:p>
          <a:p>
            <a:pPr marL="0" indent="0">
              <a:spcBef>
                <a:spcPts val="0"/>
              </a:spcBef>
              <a:buNone/>
            </a:pPr>
            <a:endParaRPr lang="en-US" sz="1700" b="1" dirty="0">
              <a:latin typeface="Calibri" panose="020F0502020204030204" pitchFamily="34" charset="0"/>
              <a:ea typeface="Times New Roman" panose="02020603050405020304" pitchFamily="18" charset="0"/>
            </a:endParaRPr>
          </a:p>
          <a:p>
            <a:pPr marL="0" indent="0">
              <a:spcBef>
                <a:spcPts val="0"/>
              </a:spcBef>
              <a:buNone/>
            </a:pPr>
            <a:r>
              <a:rPr lang="en-US" sz="1700" b="1" dirty="0">
                <a:latin typeface="Calibri" panose="020F0502020204030204" pitchFamily="34" charset="0"/>
                <a:ea typeface="Times New Roman" panose="02020603050405020304" pitchFamily="18" charset="0"/>
              </a:rPr>
              <a:t>Capturing the Power of Data for Materials and Chemical Scientists in Industry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700" dirty="0">
                <a:latin typeface="Calibri" panose="020F0502020204030204" pitchFamily="34" charset="0"/>
                <a:ea typeface="Times New Roman" panose="02020603050405020304" pitchFamily="18" charset="0"/>
              </a:rPr>
              <a:t>Organizer: Michael </a:t>
            </a:r>
            <a:r>
              <a:rPr lang="en-US" sz="1700" dirty="0" err="1">
                <a:latin typeface="Calibri" panose="020F0502020204030204" pitchFamily="34" charset="0"/>
                <a:ea typeface="Times New Roman" panose="02020603050405020304" pitchFamily="18" charset="0"/>
              </a:rPr>
              <a:t>Heiber</a:t>
            </a:r>
            <a:r>
              <a:rPr lang="en-US" sz="1700" dirty="0">
                <a:latin typeface="Calibri" panose="020F0502020204030204" pitchFamily="34" charset="0"/>
                <a:ea typeface="Times New Roman" panose="02020603050405020304" pitchFamily="18" charset="0"/>
              </a:rPr>
              <a:t>, Alix Schmidt, Vikas Varshney, Hendrik Heinz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700" dirty="0">
                <a:latin typeface="Calibri" panose="020F0502020204030204" pitchFamily="34" charset="0"/>
                <a:ea typeface="Times New Roman" panose="02020603050405020304" pitchFamily="18" charset="0"/>
              </a:rPr>
              <a:t>Atlanta, GA</a:t>
            </a:r>
          </a:p>
          <a:p>
            <a:pPr marL="0" indent="0">
              <a:spcBef>
                <a:spcPts val="0"/>
              </a:spcBef>
              <a:buNone/>
            </a:pPr>
            <a:endParaRPr lang="en-US" sz="1700" dirty="0">
              <a:latin typeface="Calibri" panose="020F0502020204030204" pitchFamily="34" charset="0"/>
              <a:ea typeface="Times New Roman" panose="02020603050405020304" pitchFamily="18" charset="0"/>
            </a:endParaRPr>
          </a:p>
          <a:p>
            <a:pPr marL="0" indent="0">
              <a:spcBef>
                <a:spcPts val="0"/>
              </a:spcBef>
              <a:buNone/>
            </a:pPr>
            <a:r>
              <a:rPr lang="en-US" sz="1700" b="1" dirty="0">
                <a:latin typeface="Calibri" panose="020F0502020204030204" pitchFamily="34" charset="0"/>
                <a:ea typeface="Times New Roman" panose="02020603050405020304" pitchFamily="18" charset="0"/>
              </a:rPr>
              <a:t>Academic Entrepreneurship and Tech Transfer: Turning Research into Revenue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700" dirty="0">
                <a:latin typeface="Calibri" panose="020F0502020204030204" pitchFamily="34" charset="0"/>
                <a:ea typeface="Times New Roman" panose="02020603050405020304" pitchFamily="18" charset="0"/>
              </a:rPr>
              <a:t>Organizer: Kapil Dev </a:t>
            </a:r>
            <a:r>
              <a:rPr lang="en-US" sz="1700" dirty="0" err="1">
                <a:latin typeface="Calibri" panose="020F0502020204030204" pitchFamily="34" charset="0"/>
                <a:ea typeface="Times New Roman" panose="02020603050405020304" pitchFamily="18" charset="0"/>
              </a:rPr>
              <a:t>Sayala</a:t>
            </a:r>
            <a:r>
              <a:rPr lang="en-US" sz="1700" dirty="0">
                <a:latin typeface="Calibri" panose="020F0502020204030204" pitchFamily="34" charset="0"/>
                <a:ea typeface="Times New Roman" panose="02020603050405020304" pitchFamily="18" charset="0"/>
              </a:rPr>
              <a:t>, Jeff Ting</a:t>
            </a:r>
          </a:p>
        </p:txBody>
      </p:sp>
      <p:sp>
        <p:nvSpPr>
          <p:cNvPr id="8" name="Title 6">
            <a:extLst>
              <a:ext uri="{FF2B5EF4-FFF2-40B4-BE49-F238E27FC236}">
                <a16:creationId xmlns:a16="http://schemas.microsoft.com/office/drawing/2014/main" id="{B054FB5D-8640-E442-1DB0-C45E65609F48}"/>
              </a:ext>
            </a:extLst>
          </p:cNvPr>
          <p:cNvSpPr txBox="1">
            <a:spLocks/>
          </p:cNvSpPr>
          <p:nvPr/>
        </p:nvSpPr>
        <p:spPr>
          <a:xfrm>
            <a:off x="271724" y="136551"/>
            <a:ext cx="10375459" cy="71607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Spring 2026 Programming and Networking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E632D351-FF78-675E-7BE9-DEB9ECC2ED2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787324" y="136551"/>
            <a:ext cx="1331632" cy="1327148"/>
          </a:xfrm>
          <a:prstGeom prst="rect">
            <a:avLst/>
          </a:prstGeom>
        </p:spPr>
      </p:pic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682AFC95-6CBD-5467-DFDC-10A755622ED3}"/>
              </a:ext>
            </a:extLst>
          </p:cNvPr>
          <p:cNvSpPr txBox="1">
            <a:spLocks/>
          </p:cNvSpPr>
          <p:nvPr/>
        </p:nvSpPr>
        <p:spPr>
          <a:xfrm>
            <a:off x="6095999" y="1555312"/>
            <a:ext cx="6022957" cy="301709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0"/>
              </a:spcBef>
              <a:buNone/>
            </a:pPr>
            <a:r>
              <a:rPr lang="en-US" sz="1800" b="1" dirty="0">
                <a:latin typeface="Calibri" panose="020F0502020204030204" pitchFamily="34" charset="0"/>
                <a:ea typeface="Times New Roman" panose="02020603050405020304" pitchFamily="18" charset="0"/>
              </a:rPr>
              <a:t>IAB Networking Reception</a:t>
            </a:r>
            <a:endParaRPr lang="en-US" sz="1800" dirty="0"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0" indent="0">
              <a:spcBef>
                <a:spcPts val="0"/>
              </a:spcBef>
              <a:buNone/>
            </a:pPr>
            <a:r>
              <a:rPr lang="en-US" sz="1800" dirty="0">
                <a:latin typeface="Calibri" panose="020F0502020204030204" pitchFamily="34" charset="0"/>
                <a:ea typeface="Times New Roman" panose="02020603050405020304" pitchFamily="18" charset="0"/>
              </a:rPr>
              <a:t>TBD</a:t>
            </a:r>
          </a:p>
          <a:p>
            <a:pPr marL="0" indent="0">
              <a:spcBef>
                <a:spcPts val="0"/>
              </a:spcBef>
              <a:buNone/>
            </a:pPr>
            <a:endParaRPr lang="en-US" sz="1800" dirty="0">
              <a:latin typeface="Calibri" panose="020F0502020204030204" pitchFamily="34" charset="0"/>
              <a:ea typeface="Times New Roman" panose="02020603050405020304" pitchFamily="18" charset="0"/>
            </a:endParaRPr>
          </a:p>
          <a:p>
            <a:pPr marL="0" indent="0">
              <a:spcBef>
                <a:spcPts val="0"/>
              </a:spcBef>
              <a:buNone/>
            </a:pPr>
            <a:r>
              <a:rPr lang="en-US" sz="1800" i="1" dirty="0">
                <a:latin typeface="Calibri" panose="020F0502020204030204" pitchFamily="34" charset="0"/>
                <a:ea typeface="Times New Roman" panose="02020603050405020304" pitchFamily="18" charset="0"/>
              </a:rPr>
              <a:t>IAB Members, POLY </a:t>
            </a:r>
            <a:r>
              <a:rPr lang="en-US" sz="2000" i="1" dirty="0">
                <a:latin typeface="Calibri" panose="020F0502020204030204" pitchFamily="34" charset="0"/>
                <a:ea typeface="Times New Roman" panose="02020603050405020304" pitchFamily="18" charset="0"/>
              </a:rPr>
              <a:t>ExCom</a:t>
            </a:r>
            <a:r>
              <a:rPr lang="en-US" sz="1800" i="1" dirty="0">
                <a:latin typeface="Calibri" panose="020F0502020204030204" pitchFamily="34" charset="0"/>
                <a:ea typeface="Times New Roman" panose="02020603050405020304" pitchFamily="18" charset="0"/>
              </a:rPr>
              <a:t> Officers, and potential Industrial representatives welcome</a:t>
            </a:r>
          </a:p>
          <a:p>
            <a:pPr marL="0" indent="0">
              <a:spcBef>
                <a:spcPts val="0"/>
              </a:spcBef>
              <a:buNone/>
            </a:pPr>
            <a:endParaRPr lang="en-US" sz="1800" dirty="0"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0" indent="0">
              <a:spcBef>
                <a:spcPts val="0"/>
              </a:spcBef>
              <a:buNone/>
            </a:pPr>
            <a:r>
              <a:rPr lang="en-US" sz="1800" b="1" dirty="0">
                <a:latin typeface="Calibri" panose="020F0502020204030204" pitchFamily="34" charset="0"/>
                <a:ea typeface="Times New Roman" panose="02020603050405020304" pitchFamily="18" charset="0"/>
              </a:rPr>
              <a:t>Industrial Advisory Board Meeting</a:t>
            </a:r>
            <a:endParaRPr lang="en-US" sz="1800" dirty="0"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0" indent="0">
              <a:spcBef>
                <a:spcPts val="0"/>
              </a:spcBef>
              <a:buNone/>
            </a:pPr>
            <a:r>
              <a:rPr lang="en-US" sz="1800" dirty="0">
                <a:latin typeface="Calibri" panose="020F0502020204030204" pitchFamily="34" charset="0"/>
                <a:ea typeface="Times New Roman" panose="02020603050405020304" pitchFamily="18" charset="0"/>
              </a:rPr>
              <a:t>TBD</a:t>
            </a:r>
          </a:p>
          <a:p>
            <a:pPr marL="0" indent="0">
              <a:spcBef>
                <a:spcPts val="0"/>
              </a:spcBef>
              <a:buNone/>
            </a:pPr>
            <a:endParaRPr lang="en-US" sz="1800" dirty="0">
              <a:latin typeface="Calibri" panose="020F0502020204030204" pitchFamily="34" charset="0"/>
              <a:ea typeface="Times New Roman" panose="02020603050405020304" pitchFamily="18" charset="0"/>
            </a:endParaRPr>
          </a:p>
          <a:p>
            <a:pPr marL="0" indent="0">
              <a:spcBef>
                <a:spcPts val="0"/>
              </a:spcBef>
              <a:buNone/>
            </a:pPr>
            <a:r>
              <a:rPr lang="en-US" sz="1800" i="1" dirty="0">
                <a:latin typeface="Calibri" panose="020F0502020204030204" pitchFamily="34" charset="0"/>
                <a:ea typeface="Times New Roman" panose="02020603050405020304" pitchFamily="18" charset="0"/>
              </a:rPr>
              <a:t>IAB Member Company Representatives, POLY </a:t>
            </a:r>
            <a:r>
              <a:rPr lang="en-US" sz="2000" i="1" dirty="0">
                <a:latin typeface="Calibri" panose="020F0502020204030204" pitchFamily="34" charset="0"/>
                <a:ea typeface="Times New Roman" panose="02020603050405020304" pitchFamily="18" charset="0"/>
              </a:rPr>
              <a:t>ExCom</a:t>
            </a:r>
            <a:r>
              <a:rPr lang="en-US" sz="1800" i="1" dirty="0">
                <a:latin typeface="Calibri" panose="020F0502020204030204" pitchFamily="34" charset="0"/>
                <a:ea typeface="Times New Roman" panose="02020603050405020304" pitchFamily="18" charset="0"/>
              </a:rPr>
              <a:t> Officers Only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E0466B98-6A3F-E93D-BC70-47FA3ECEE5E5}"/>
              </a:ext>
            </a:extLst>
          </p:cNvPr>
          <p:cNvGrpSpPr/>
          <p:nvPr/>
        </p:nvGrpSpPr>
        <p:grpSpPr>
          <a:xfrm>
            <a:off x="723854" y="5101025"/>
            <a:ext cx="4328888" cy="1255575"/>
            <a:chOff x="887139" y="5138100"/>
            <a:chExt cx="4328888" cy="1255575"/>
          </a:xfrm>
        </p:grpSpPr>
        <p:pic>
          <p:nvPicPr>
            <p:cNvPr id="11" name="Picture 4" descr="Dow Chemical Company - Wikipedia">
              <a:extLst>
                <a:ext uri="{FF2B5EF4-FFF2-40B4-BE49-F238E27FC236}">
                  <a16:creationId xmlns:a16="http://schemas.microsoft.com/office/drawing/2014/main" id="{B8DDDE12-EF33-7E89-8390-3702E4B29330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306760" y="5138100"/>
              <a:ext cx="1490800" cy="52430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074" name="Picture 2" descr="Home | Enthought, Inc.">
              <a:extLst>
                <a:ext uri="{FF2B5EF4-FFF2-40B4-BE49-F238E27FC236}">
                  <a16:creationId xmlns:a16="http://schemas.microsoft.com/office/drawing/2014/main" id="{FD12715E-379A-E7CD-A6A7-44FB10502DF8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167876" y="5201494"/>
              <a:ext cx="1537653" cy="38270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grpSp>
          <p:nvGrpSpPr>
            <p:cNvPr id="5" name="Group 4">
              <a:extLst>
                <a:ext uri="{FF2B5EF4-FFF2-40B4-BE49-F238E27FC236}">
                  <a16:creationId xmlns:a16="http://schemas.microsoft.com/office/drawing/2014/main" id="{29355184-8084-3833-4CA2-7B9C9D07367F}"/>
                </a:ext>
              </a:extLst>
            </p:cNvPr>
            <p:cNvGrpSpPr/>
            <p:nvPr/>
          </p:nvGrpSpPr>
          <p:grpSpPr>
            <a:xfrm>
              <a:off x="887139" y="5970972"/>
              <a:ext cx="4328888" cy="422703"/>
              <a:chOff x="625882" y="5970973"/>
              <a:chExt cx="4328888" cy="422703"/>
            </a:xfrm>
          </p:grpSpPr>
          <p:pic>
            <p:nvPicPr>
              <p:cNvPr id="21" name="Picture 20" descr="A white text on a black background&#10;&#10;Description automatically generated">
                <a:extLst>
                  <a:ext uri="{FF2B5EF4-FFF2-40B4-BE49-F238E27FC236}">
                    <a16:creationId xmlns:a16="http://schemas.microsoft.com/office/drawing/2014/main" id="{E326E202-50DE-3A19-1203-D9FB92CF1FE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2855641" y="6010972"/>
                <a:ext cx="2099129" cy="382704"/>
              </a:xfrm>
              <a:prstGeom prst="rect">
                <a:avLst/>
              </a:prstGeom>
            </p:spPr>
          </p:pic>
          <p:pic>
            <p:nvPicPr>
              <p:cNvPr id="3078" name="Picture 6" descr="SEQENS">
                <a:extLst>
                  <a:ext uri="{FF2B5EF4-FFF2-40B4-BE49-F238E27FC236}">
                    <a16:creationId xmlns:a16="http://schemas.microsoft.com/office/drawing/2014/main" id="{410CA9D5-56AC-F437-C8EF-0361D59974E2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6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t="38521" b="41342"/>
              <a:stretch/>
            </p:blipFill>
            <p:spPr bwMode="auto">
              <a:xfrm>
                <a:off x="625882" y="5970973"/>
                <a:ext cx="2099129" cy="422703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</p:grpSp>
      <p:sp>
        <p:nvSpPr>
          <p:cNvPr id="12" name="TextBox 11">
            <a:extLst>
              <a:ext uri="{FF2B5EF4-FFF2-40B4-BE49-F238E27FC236}">
                <a16:creationId xmlns:a16="http://schemas.microsoft.com/office/drawing/2014/main" id="{DF5B0B4E-B365-0FF7-7D9B-A56347F7DC81}"/>
              </a:ext>
            </a:extLst>
          </p:cNvPr>
          <p:cNvSpPr txBox="1"/>
          <p:nvPr/>
        </p:nvSpPr>
        <p:spPr>
          <a:xfrm>
            <a:off x="6095999" y="4669415"/>
            <a:ext cx="6022957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US" sz="1800" b="1" dirty="0">
                <a:latin typeface="Calibri" panose="020F0502020204030204" pitchFamily="34" charset="0"/>
                <a:ea typeface="Times New Roman" panose="02020603050405020304" pitchFamily="18" charset="0"/>
              </a:rPr>
              <a:t>ACS Spring 2026, Atlanta GA: </a:t>
            </a:r>
            <a:r>
              <a:rPr lang="en-US" b="1" dirty="0">
                <a:latin typeface="Calibri" panose="020F0502020204030204" pitchFamily="34" charset="0"/>
                <a:ea typeface="Times New Roman" panose="02020603050405020304" pitchFamily="18" charset="0"/>
              </a:rPr>
              <a:t>March 22</a:t>
            </a:r>
            <a:r>
              <a:rPr lang="en-US" b="1" baseline="30000" dirty="0">
                <a:latin typeface="Calibri" panose="020F0502020204030204" pitchFamily="34" charset="0"/>
                <a:ea typeface="Times New Roman" panose="02020603050405020304" pitchFamily="18" charset="0"/>
              </a:rPr>
              <a:t>nd</a:t>
            </a:r>
            <a:r>
              <a:rPr lang="en-US" b="1" dirty="0">
                <a:latin typeface="Calibri" panose="020F0502020204030204" pitchFamily="34" charset="0"/>
                <a:ea typeface="Times New Roman" panose="02020603050405020304" pitchFamily="18" charset="0"/>
              </a:rPr>
              <a:t> - 26</a:t>
            </a:r>
            <a:r>
              <a:rPr lang="en-US" b="1" baseline="30000" dirty="0">
                <a:latin typeface="Calibri" panose="020F0502020204030204" pitchFamily="34" charset="0"/>
                <a:ea typeface="Times New Roman" panose="02020603050405020304" pitchFamily="18" charset="0"/>
              </a:rPr>
              <a:t>th</a:t>
            </a:r>
            <a:endParaRPr lang="en-US" sz="1800" b="1" dirty="0">
              <a:latin typeface="Calibri" panose="020F0502020204030204" pitchFamily="34" charset="0"/>
              <a:ea typeface="Times New Roman" panose="02020603050405020304" pitchFamily="18" charset="0"/>
            </a:endParaRPr>
          </a:p>
        </p:txBody>
      </p:sp>
      <p:pic>
        <p:nvPicPr>
          <p:cNvPr id="1026" name="Picture 2" descr="ACS Spring 2026">
            <a:extLst>
              <a:ext uri="{FF2B5EF4-FFF2-40B4-BE49-F238E27FC236}">
                <a16:creationId xmlns:a16="http://schemas.microsoft.com/office/drawing/2014/main" id="{ADBE67D0-D69D-1559-3D39-C21C5CB5B54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98306" y="5038747"/>
            <a:ext cx="3889018" cy="16204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0848117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8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9" name="Google Shape;89;p11"/>
          <p:cNvSpPr txBox="1"/>
          <p:nvPr/>
        </p:nvSpPr>
        <p:spPr>
          <a:xfrm>
            <a:off x="-9331" y="169887"/>
            <a:ext cx="12192000" cy="113873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3400" dirty="0">
                <a:latin typeface="Arial Black"/>
                <a:ea typeface="Arial Black"/>
                <a:cs typeface="Arial Black"/>
                <a:sym typeface="Arial Black"/>
              </a:rPr>
              <a:t>2025 POLY </a:t>
            </a:r>
          </a:p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3400" dirty="0">
                <a:latin typeface="Arial Black"/>
                <a:ea typeface="Arial Black"/>
                <a:cs typeface="Arial Black"/>
                <a:sym typeface="Arial Black"/>
              </a:rPr>
              <a:t>Graduate Student Travel Award</a:t>
            </a:r>
            <a:endParaRPr dirty="0"/>
          </a:p>
        </p:txBody>
      </p:sp>
      <p:sp>
        <p:nvSpPr>
          <p:cNvPr id="90" name="Google Shape;90;p11"/>
          <p:cNvSpPr txBox="1"/>
          <p:nvPr/>
        </p:nvSpPr>
        <p:spPr>
          <a:xfrm>
            <a:off x="614080" y="4156699"/>
            <a:ext cx="5481919" cy="10156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3600" b="1" dirty="0">
                <a:latin typeface="Arial"/>
                <a:ea typeface="Arial"/>
                <a:cs typeface="Arial"/>
                <a:sym typeface="Arial"/>
              </a:rPr>
              <a:t>Brock Hunter</a:t>
            </a:r>
            <a:endParaRPr dirty="0"/>
          </a:p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400" b="1" dirty="0">
                <a:latin typeface="Arial"/>
                <a:ea typeface="Arial"/>
                <a:cs typeface="Arial"/>
                <a:sym typeface="Arial"/>
              </a:rPr>
              <a:t>University of Delaware</a:t>
            </a:r>
            <a:endParaRPr dirty="0"/>
          </a:p>
        </p:txBody>
      </p:sp>
      <p:sp>
        <p:nvSpPr>
          <p:cNvPr id="91" name="Google Shape;91;p11"/>
          <p:cNvSpPr txBox="1"/>
          <p:nvPr/>
        </p:nvSpPr>
        <p:spPr>
          <a:xfrm>
            <a:off x="267308" y="5312933"/>
            <a:ext cx="11644587" cy="70788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000" b="1" dirty="0">
                <a:latin typeface="Arial"/>
                <a:ea typeface="Arial"/>
                <a:cs typeface="Arial"/>
                <a:sym typeface="Arial"/>
              </a:rPr>
              <a:t>To provide funding for graduate students studying polymer science at </a:t>
            </a:r>
            <a:endParaRPr dirty="0"/>
          </a:p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000" b="1" dirty="0">
                <a:latin typeface="Arial"/>
                <a:ea typeface="Arial"/>
                <a:cs typeface="Arial"/>
                <a:sym typeface="Arial"/>
              </a:rPr>
              <a:t>US institutions to travel to national ACS meetings and present their results</a:t>
            </a:r>
            <a:endParaRPr dirty="0"/>
          </a:p>
        </p:txBody>
      </p:sp>
      <p:cxnSp>
        <p:nvCxnSpPr>
          <p:cNvPr id="92" name="Google Shape;92;p11"/>
          <p:cNvCxnSpPr/>
          <p:nvPr/>
        </p:nvCxnSpPr>
        <p:spPr>
          <a:xfrm>
            <a:off x="814979" y="1473058"/>
            <a:ext cx="9551331" cy="0"/>
          </a:xfrm>
          <a:prstGeom prst="straightConnector1">
            <a:avLst/>
          </a:prstGeom>
          <a:noFill/>
          <a:ln w="19050" cap="flat" cmpd="sng">
            <a:solidFill>
              <a:srgbClr val="000099"/>
            </a:solidFill>
            <a:prstDash val="dot"/>
            <a:round/>
            <a:headEnd type="none" w="sm" len="sm"/>
            <a:tailEnd type="none" w="sm" len="sm"/>
          </a:ln>
        </p:spPr>
      </p:cxnSp>
      <p:pic>
        <p:nvPicPr>
          <p:cNvPr id="93" name="Google Shape;93;p11" descr="Background pattern&#10;&#10;Description automatically generated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267308" y="152562"/>
            <a:ext cx="955002" cy="1383190"/>
          </a:xfrm>
          <a:prstGeom prst="rect">
            <a:avLst/>
          </a:prstGeom>
          <a:noFill/>
          <a:ln>
            <a:noFill/>
          </a:ln>
        </p:spPr>
      </p:pic>
      <p:sp>
        <p:nvSpPr>
          <p:cNvPr id="95" name="Google Shape;95;p11"/>
          <p:cNvSpPr txBox="1"/>
          <p:nvPr/>
        </p:nvSpPr>
        <p:spPr>
          <a:xfrm>
            <a:off x="6095999" y="4156699"/>
            <a:ext cx="5481919" cy="10156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3600" b="1" dirty="0" err="1">
                <a:latin typeface="Arial"/>
                <a:ea typeface="Arial"/>
                <a:cs typeface="Arial"/>
                <a:sym typeface="Arial"/>
              </a:rPr>
              <a:t>Windfield</a:t>
            </a:r>
            <a:r>
              <a:rPr lang="en-US" sz="3600" b="1" dirty="0"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en-US" sz="3600" b="1" dirty="0" err="1">
                <a:latin typeface="Arial"/>
                <a:ea typeface="Arial"/>
                <a:cs typeface="Arial"/>
                <a:sym typeface="Arial"/>
              </a:rPr>
              <a:t>Swetman</a:t>
            </a:r>
            <a:endParaRPr sz="3200" b="1" dirty="0"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400" b="1" dirty="0">
                <a:latin typeface="Arial"/>
                <a:ea typeface="Arial"/>
                <a:cs typeface="Arial"/>
                <a:sym typeface="Arial"/>
              </a:rPr>
              <a:t>University of Southern Mississippi</a:t>
            </a:r>
            <a:endParaRPr dirty="0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8EB3E09B-6C37-7719-1D73-B04FF88DEB9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787324" y="136551"/>
            <a:ext cx="1331632" cy="1327148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6A47B106-4A4A-C510-A954-A14E1FAB5CDC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62514" t="4546" r="15922" b="28905"/>
          <a:stretch/>
        </p:blipFill>
        <p:spPr>
          <a:xfrm>
            <a:off x="8018463" y="1921124"/>
            <a:ext cx="1676059" cy="2095004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0204789C-A610-A000-C1C4-3C5FA03B51DC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7906" t="2804" r="70530" b="30648"/>
          <a:stretch/>
        </p:blipFill>
        <p:spPr>
          <a:xfrm>
            <a:off x="2517009" y="1921109"/>
            <a:ext cx="1676059" cy="2095019"/>
          </a:xfrm>
          <a:prstGeom prst="rect">
            <a:avLst/>
          </a:prstGeom>
        </p:spPr>
      </p:pic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Picture 2" descr="Profile photo of Kapil Dev Sayala">
            <a:extLst>
              <a:ext uri="{FF2B5EF4-FFF2-40B4-BE49-F238E27FC236}">
                <a16:creationId xmlns:a16="http://schemas.microsoft.com/office/drawing/2014/main" id="{0C6636D8-F70D-CFCA-8A9C-EEB86D69487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70858" y="5294960"/>
            <a:ext cx="1207008" cy="1207008"/>
          </a:xfrm>
          <a:prstGeom prst="ellipse">
            <a:avLst/>
          </a:prstGeom>
          <a:ln w="63500" cap="rnd">
            <a:noFill/>
          </a:ln>
          <a:effectLst/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Google Shape;93;p11" descr="Background pattern&#10;&#10;Description automatically generated">
            <a:extLst>
              <a:ext uri="{FF2B5EF4-FFF2-40B4-BE49-F238E27FC236}">
                <a16:creationId xmlns:a16="http://schemas.microsoft.com/office/drawing/2014/main" id="{E776E2B5-F766-428A-85F5-2BD333E65386}"/>
              </a:ext>
            </a:extLst>
          </p:cNvPr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267308" y="152562"/>
            <a:ext cx="955002" cy="1383190"/>
          </a:xfrm>
          <a:prstGeom prst="rect">
            <a:avLst/>
          </a:prstGeom>
          <a:noFill/>
          <a:ln>
            <a:noFill/>
          </a:ln>
        </p:spPr>
      </p:pic>
      <p:sp>
        <p:nvSpPr>
          <p:cNvPr id="10" name="Google Shape;89;p11">
            <a:extLst>
              <a:ext uri="{FF2B5EF4-FFF2-40B4-BE49-F238E27FC236}">
                <a16:creationId xmlns:a16="http://schemas.microsoft.com/office/drawing/2014/main" id="{C3A87ABF-3335-42E2-9E97-B6FBDC9B5E4B}"/>
              </a:ext>
            </a:extLst>
          </p:cNvPr>
          <p:cNvSpPr txBox="1"/>
          <p:nvPr/>
        </p:nvSpPr>
        <p:spPr>
          <a:xfrm>
            <a:off x="0" y="211214"/>
            <a:ext cx="12192000" cy="123106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600" dirty="0">
                <a:latin typeface="Arial Black"/>
                <a:ea typeface="Arial Black"/>
                <a:cs typeface="Arial Black"/>
                <a:sym typeface="Arial Black"/>
              </a:rPr>
              <a:t>IAB Sponsored Event</a:t>
            </a:r>
          </a:p>
          <a:p>
            <a:pPr algn="ctr">
              <a:defRPr/>
            </a:pPr>
            <a:r>
              <a:rPr lang="en-US" sz="3000" b="1" dirty="0">
                <a:ln w="0"/>
              </a:rPr>
              <a:t>MIT Polymer Day 2025</a:t>
            </a:r>
          </a:p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cxnSp>
        <p:nvCxnSpPr>
          <p:cNvPr id="11" name="Google Shape;92;p11">
            <a:extLst>
              <a:ext uri="{FF2B5EF4-FFF2-40B4-BE49-F238E27FC236}">
                <a16:creationId xmlns:a16="http://schemas.microsoft.com/office/drawing/2014/main" id="{452BA1F8-0F1D-4FA6-948E-5EECDF27A493}"/>
              </a:ext>
            </a:extLst>
          </p:cNvPr>
          <p:cNvCxnSpPr/>
          <p:nvPr/>
        </p:nvCxnSpPr>
        <p:spPr>
          <a:xfrm>
            <a:off x="814979" y="1830776"/>
            <a:ext cx="9551331" cy="0"/>
          </a:xfrm>
          <a:prstGeom prst="straightConnector1">
            <a:avLst/>
          </a:prstGeom>
          <a:noFill/>
          <a:ln w="19050" cap="flat" cmpd="sng">
            <a:solidFill>
              <a:srgbClr val="000099"/>
            </a:solidFill>
            <a:prstDash val="dot"/>
            <a:round/>
            <a:headEnd type="none" w="sm" len="sm"/>
            <a:tailEnd type="none" w="sm" len="sm"/>
          </a:ln>
        </p:spPr>
      </p:cxnSp>
      <p:pic>
        <p:nvPicPr>
          <p:cNvPr id="2" name="Picture 1">
            <a:extLst>
              <a:ext uri="{FF2B5EF4-FFF2-40B4-BE49-F238E27FC236}">
                <a16:creationId xmlns:a16="http://schemas.microsoft.com/office/drawing/2014/main" id="{80FA3C54-AAC2-5DCF-65BD-C27658463AB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787324" y="136551"/>
            <a:ext cx="1331632" cy="1327148"/>
          </a:xfrm>
          <a:prstGeom prst="rect">
            <a:avLst/>
          </a:prstGeom>
        </p:spPr>
      </p:pic>
      <p:sp>
        <p:nvSpPr>
          <p:cNvPr id="14" name="Rectangle 13">
            <a:extLst>
              <a:ext uri="{FF2B5EF4-FFF2-40B4-BE49-F238E27FC236}">
                <a16:creationId xmlns:a16="http://schemas.microsoft.com/office/drawing/2014/main" id="{8E734886-DBBB-6981-65D4-CF5383615AEC}"/>
              </a:ext>
            </a:extLst>
          </p:cNvPr>
          <p:cNvSpPr/>
          <p:nvPr/>
        </p:nvSpPr>
        <p:spPr>
          <a:xfrm>
            <a:off x="693239" y="5319392"/>
            <a:ext cx="6902902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100" dirty="0">
                <a:solidFill>
                  <a:prstClr val="white"/>
                </a:solidFill>
              </a:rPr>
              <a:t>~ 300 registrants, 11 sponsors, Prof. </a:t>
            </a:r>
            <a:r>
              <a:rPr lang="en-US" sz="2100" dirty="0" err="1">
                <a:solidFill>
                  <a:prstClr val="white"/>
                </a:solidFill>
              </a:rPr>
              <a:t>Zhenan</a:t>
            </a:r>
            <a:r>
              <a:rPr lang="en-US" sz="2100" dirty="0">
                <a:solidFill>
                  <a:prstClr val="white"/>
                </a:solidFill>
              </a:rPr>
              <a:t> Bao keynote, 79 posters, 2 student seminars during the event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100" dirty="0">
                <a:solidFill>
                  <a:prstClr val="white"/>
                </a:solidFill>
              </a:rPr>
              <a:t>Covered advanced polymer applications in electronic skin, energy/consumer care, and human health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D3942A5E-D63D-787D-10D0-9240A94162E2}"/>
              </a:ext>
            </a:extLst>
          </p:cNvPr>
          <p:cNvSpPr/>
          <p:nvPr/>
        </p:nvSpPr>
        <p:spPr>
          <a:xfrm>
            <a:off x="9279090" y="5473281"/>
            <a:ext cx="2839866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600" dirty="0">
                <a:solidFill>
                  <a:prstClr val="white"/>
                </a:solidFill>
              </a:rPr>
              <a:t>Kapil Dev </a:t>
            </a:r>
            <a:r>
              <a:rPr lang="en-US" sz="1600" dirty="0" err="1">
                <a:solidFill>
                  <a:prstClr val="white"/>
                </a:solidFill>
              </a:rPr>
              <a:t>Sayala</a:t>
            </a:r>
            <a:endParaRPr lang="en-US" sz="1600" dirty="0">
              <a:solidFill>
                <a:prstClr val="white"/>
              </a:solidFill>
            </a:endParaRPr>
          </a:p>
          <a:p>
            <a:pPr algn="ctr"/>
            <a:r>
              <a:rPr lang="en-US" sz="1600" dirty="0">
                <a:solidFill>
                  <a:prstClr val="white"/>
                </a:solidFill>
              </a:rPr>
              <a:t>R&amp;D Scientist, SEQENS</a:t>
            </a:r>
          </a:p>
        </p:txBody>
      </p:sp>
      <p:sp>
        <p:nvSpPr>
          <p:cNvPr id="17" name="Rounded Rectangular Callout 16">
            <a:extLst>
              <a:ext uri="{FF2B5EF4-FFF2-40B4-BE49-F238E27FC236}">
                <a16:creationId xmlns:a16="http://schemas.microsoft.com/office/drawing/2014/main" id="{990FEC1F-93C0-1405-653F-6930D173B03C}"/>
              </a:ext>
            </a:extLst>
          </p:cNvPr>
          <p:cNvSpPr/>
          <p:nvPr/>
        </p:nvSpPr>
        <p:spPr>
          <a:xfrm>
            <a:off x="571500" y="5294959"/>
            <a:ext cx="7146381" cy="1409427"/>
          </a:xfrm>
          <a:prstGeom prst="wedgeRoundRectCallout">
            <a:avLst>
              <a:gd name="adj1" fmla="val 60280"/>
              <a:gd name="adj2" fmla="val -8838"/>
              <a:gd name="adj3" fmla="val 16667"/>
            </a:avLst>
          </a:prstGeom>
          <a:noFill/>
          <a:ln w="28575"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Google Shape;91;p11">
            <a:extLst>
              <a:ext uri="{FF2B5EF4-FFF2-40B4-BE49-F238E27FC236}">
                <a16:creationId xmlns:a16="http://schemas.microsoft.com/office/drawing/2014/main" id="{AE0CA339-CF04-D740-2ACE-925EA8E771AA}"/>
              </a:ext>
            </a:extLst>
          </p:cNvPr>
          <p:cNvSpPr txBox="1"/>
          <p:nvPr/>
        </p:nvSpPr>
        <p:spPr>
          <a:xfrm>
            <a:off x="571500" y="1769967"/>
            <a:ext cx="7146382" cy="193895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000" dirty="0">
                <a:latin typeface="Arial"/>
                <a:ea typeface="Arial"/>
                <a:cs typeface="Arial"/>
                <a:sym typeface="Arial"/>
              </a:rPr>
              <a:t>MIT Polymer Day is an annual day-long symposium to highlight the latest polymers and soft matter research from various US universities, industry professionals, and the broader polymer and soft matter science community.</a:t>
            </a:r>
          </a:p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2000" dirty="0">
              <a:latin typeface="Arial"/>
              <a:cs typeface="Arial"/>
              <a:sym typeface="Arial"/>
            </a:endParaRPr>
          </a:p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000" dirty="0">
                <a:latin typeface="Arial"/>
                <a:cs typeface="Arial"/>
                <a:sym typeface="Arial"/>
              </a:rPr>
              <a:t>IAB voted in Spring 2025 to sponsor $500 to the event</a:t>
            </a:r>
            <a:endParaRPr dirty="0"/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5A84E957-EB8B-F5A3-DFE8-331EE2474AE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755700" y="1788896"/>
            <a:ext cx="2547991" cy="3275427"/>
          </a:xfrm>
          <a:prstGeom prst="rect">
            <a:avLst/>
          </a:prstGeom>
        </p:spPr>
      </p:pic>
      <p:pic>
        <p:nvPicPr>
          <p:cNvPr id="22" name="Picture 6" descr="SEQENS">
            <a:extLst>
              <a:ext uri="{FF2B5EF4-FFF2-40B4-BE49-F238E27FC236}">
                <a16:creationId xmlns:a16="http://schemas.microsoft.com/office/drawing/2014/main" id="{FD40E3D1-0DD9-216A-546B-E3A21808A43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8521" b="41342"/>
          <a:stretch/>
        </p:blipFill>
        <p:spPr bwMode="auto">
          <a:xfrm>
            <a:off x="9906624" y="6058056"/>
            <a:ext cx="1507722" cy="3036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23" name="Group 22">
            <a:extLst>
              <a:ext uri="{FF2B5EF4-FFF2-40B4-BE49-F238E27FC236}">
                <a16:creationId xmlns:a16="http://schemas.microsoft.com/office/drawing/2014/main" id="{A912E7FD-A493-C4E8-D4B7-4238B125DB42}"/>
              </a:ext>
            </a:extLst>
          </p:cNvPr>
          <p:cNvGrpSpPr/>
          <p:nvPr/>
        </p:nvGrpSpPr>
        <p:grpSpPr>
          <a:xfrm>
            <a:off x="1804360" y="3823426"/>
            <a:ext cx="5147128" cy="1273996"/>
            <a:chOff x="1983974" y="3812010"/>
            <a:chExt cx="5147128" cy="1273996"/>
          </a:xfrm>
        </p:grpSpPr>
        <p:pic>
          <p:nvPicPr>
            <p:cNvPr id="1030" name="Picture 6">
              <a:extLst>
                <a:ext uri="{FF2B5EF4-FFF2-40B4-BE49-F238E27FC236}">
                  <a16:creationId xmlns:a16="http://schemas.microsoft.com/office/drawing/2014/main" id="{A42A52BD-C55F-E224-8C03-47116595733A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583110" y="3812010"/>
              <a:ext cx="2547992" cy="127399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32" name="Picture 8" descr="No alternative text description for this image">
              <a:extLst>
                <a:ext uri="{FF2B5EF4-FFF2-40B4-BE49-F238E27FC236}">
                  <a16:creationId xmlns:a16="http://schemas.microsoft.com/office/drawing/2014/main" id="{81F8B0EC-B4A7-DDB0-6799-F3B480A10E27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57497"/>
            <a:stretch/>
          </p:blipFill>
          <p:spPr bwMode="auto">
            <a:xfrm>
              <a:off x="1983974" y="3836571"/>
              <a:ext cx="2160716" cy="122487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425750607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oogle Shape;93;p11" descr="Background pattern&#10;&#10;Description automatically generated">
            <a:extLst>
              <a:ext uri="{FF2B5EF4-FFF2-40B4-BE49-F238E27FC236}">
                <a16:creationId xmlns:a16="http://schemas.microsoft.com/office/drawing/2014/main" id="{E776E2B5-F766-428A-85F5-2BD333E65386}"/>
              </a:ext>
            </a:extLst>
          </p:cNvPr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67308" y="152562"/>
            <a:ext cx="955002" cy="1383190"/>
          </a:xfrm>
          <a:prstGeom prst="rect">
            <a:avLst/>
          </a:prstGeom>
          <a:noFill/>
          <a:ln>
            <a:noFill/>
          </a:ln>
        </p:spPr>
      </p:pic>
      <p:sp>
        <p:nvSpPr>
          <p:cNvPr id="10" name="Google Shape;89;p11">
            <a:extLst>
              <a:ext uri="{FF2B5EF4-FFF2-40B4-BE49-F238E27FC236}">
                <a16:creationId xmlns:a16="http://schemas.microsoft.com/office/drawing/2014/main" id="{C3A87ABF-3335-42E2-9E97-B6FBDC9B5E4B}"/>
              </a:ext>
            </a:extLst>
          </p:cNvPr>
          <p:cNvSpPr txBox="1"/>
          <p:nvPr/>
        </p:nvSpPr>
        <p:spPr>
          <a:xfrm>
            <a:off x="0" y="211214"/>
            <a:ext cx="12192000" cy="123106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600" dirty="0">
                <a:latin typeface="Arial Black"/>
                <a:ea typeface="Arial Black"/>
                <a:cs typeface="Arial Black"/>
                <a:sym typeface="Arial Black"/>
              </a:rPr>
              <a:t>IAB Sponsored Event</a:t>
            </a:r>
          </a:p>
          <a:p>
            <a:pPr algn="ctr">
              <a:defRPr/>
            </a:pPr>
            <a:r>
              <a:rPr lang="en-US" sz="3000" b="1" dirty="0">
                <a:ln w="0"/>
              </a:rPr>
              <a:t>2025 Future Faculty Workshop (FFW) on Soft Matter</a:t>
            </a:r>
          </a:p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cxnSp>
        <p:nvCxnSpPr>
          <p:cNvPr id="11" name="Google Shape;92;p11">
            <a:extLst>
              <a:ext uri="{FF2B5EF4-FFF2-40B4-BE49-F238E27FC236}">
                <a16:creationId xmlns:a16="http://schemas.microsoft.com/office/drawing/2014/main" id="{452BA1F8-0F1D-4FA6-948E-5EECDF27A493}"/>
              </a:ext>
            </a:extLst>
          </p:cNvPr>
          <p:cNvCxnSpPr/>
          <p:nvPr/>
        </p:nvCxnSpPr>
        <p:spPr>
          <a:xfrm>
            <a:off x="814979" y="1830776"/>
            <a:ext cx="9551331" cy="0"/>
          </a:xfrm>
          <a:prstGeom prst="straightConnector1">
            <a:avLst/>
          </a:prstGeom>
          <a:noFill/>
          <a:ln w="19050" cap="flat" cmpd="sng">
            <a:solidFill>
              <a:srgbClr val="000099"/>
            </a:solidFill>
            <a:prstDash val="dot"/>
            <a:round/>
            <a:headEnd type="none" w="sm" len="sm"/>
            <a:tailEnd type="none" w="sm" len="sm"/>
          </a:ln>
        </p:spPr>
      </p:cxnSp>
      <p:pic>
        <p:nvPicPr>
          <p:cNvPr id="2" name="Picture 1">
            <a:extLst>
              <a:ext uri="{FF2B5EF4-FFF2-40B4-BE49-F238E27FC236}">
                <a16:creationId xmlns:a16="http://schemas.microsoft.com/office/drawing/2014/main" id="{80FA3C54-AAC2-5DCF-65BD-C27658463AB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787324" y="136551"/>
            <a:ext cx="1331632" cy="1327148"/>
          </a:xfrm>
          <a:prstGeom prst="rect">
            <a:avLst/>
          </a:prstGeom>
        </p:spPr>
      </p:pic>
      <p:pic>
        <p:nvPicPr>
          <p:cNvPr id="9" name="Picture 8" descr="A group of people posing for a photo&#10;&#10;Description automatically generated">
            <a:extLst>
              <a:ext uri="{FF2B5EF4-FFF2-40B4-BE49-F238E27FC236}">
                <a16:creationId xmlns:a16="http://schemas.microsoft.com/office/drawing/2014/main" id="{0681138C-A777-B0F0-3FFF-1419163D0E01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6666"/>
          <a:stretch/>
        </p:blipFill>
        <p:spPr>
          <a:xfrm>
            <a:off x="8169940" y="1830776"/>
            <a:ext cx="3600238" cy="3040201"/>
          </a:xfrm>
          <a:prstGeom prst="rect">
            <a:avLst/>
          </a:prstGeom>
        </p:spPr>
      </p:pic>
      <p:sp>
        <p:nvSpPr>
          <p:cNvPr id="14" name="Rectangle 13">
            <a:extLst>
              <a:ext uri="{FF2B5EF4-FFF2-40B4-BE49-F238E27FC236}">
                <a16:creationId xmlns:a16="http://schemas.microsoft.com/office/drawing/2014/main" id="{8E734886-DBBB-6981-65D4-CF5383615AEC}"/>
              </a:ext>
            </a:extLst>
          </p:cNvPr>
          <p:cNvSpPr/>
          <p:nvPr/>
        </p:nvSpPr>
        <p:spPr>
          <a:xfrm>
            <a:off x="814979" y="4081730"/>
            <a:ext cx="6902902" cy="235449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100" dirty="0">
                <a:solidFill>
                  <a:prstClr val="white"/>
                </a:solidFill>
              </a:rPr>
              <a:t>Attendees were focused primarily on academic jobs but were open for any career opportunities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100" dirty="0">
                <a:solidFill>
                  <a:prstClr val="white"/>
                </a:solidFill>
              </a:rPr>
              <a:t>Faculty and attendees were very interested in industry interests and collaborations (e.g., what kind of aerospace/defense projects have Syensqo supported?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100" dirty="0">
                <a:solidFill>
                  <a:prstClr val="white"/>
                </a:solidFill>
              </a:rPr>
              <a:t>Great networking opportunity and way to still feel connected with the polymers community</a:t>
            </a:r>
          </a:p>
        </p:txBody>
      </p:sp>
      <p:pic>
        <p:nvPicPr>
          <p:cNvPr id="1028" name="Picture 4" descr="Profile photo of Jacob Blankenship">
            <a:extLst>
              <a:ext uri="{FF2B5EF4-FFF2-40B4-BE49-F238E27FC236}">
                <a16:creationId xmlns:a16="http://schemas.microsoft.com/office/drawing/2014/main" id="{36398B6A-AB13-D2D3-7556-36653090813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69940" y="5306033"/>
            <a:ext cx="1207926" cy="1207926"/>
          </a:xfrm>
          <a:prstGeom prst="ellipse">
            <a:avLst/>
          </a:prstGeom>
          <a:ln w="63500" cap="rnd">
            <a:noFill/>
          </a:ln>
          <a:effectLst/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Rectangle 15">
            <a:extLst>
              <a:ext uri="{FF2B5EF4-FFF2-40B4-BE49-F238E27FC236}">
                <a16:creationId xmlns:a16="http://schemas.microsoft.com/office/drawing/2014/main" id="{D3942A5E-D63D-787D-10D0-9240A94162E2}"/>
              </a:ext>
            </a:extLst>
          </p:cNvPr>
          <p:cNvSpPr/>
          <p:nvPr/>
        </p:nvSpPr>
        <p:spPr>
          <a:xfrm>
            <a:off x="9279090" y="5473281"/>
            <a:ext cx="2839866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600" dirty="0">
                <a:solidFill>
                  <a:prstClr val="white"/>
                </a:solidFill>
              </a:rPr>
              <a:t>Jacob Blankenship</a:t>
            </a:r>
          </a:p>
          <a:p>
            <a:pPr algn="ctr"/>
            <a:r>
              <a:rPr lang="en-US" sz="1600" dirty="0">
                <a:solidFill>
                  <a:prstClr val="white"/>
                </a:solidFill>
              </a:rPr>
              <a:t>Research Scientist, Syensqo</a:t>
            </a:r>
          </a:p>
        </p:txBody>
      </p:sp>
      <p:sp>
        <p:nvSpPr>
          <p:cNvPr id="17" name="Rounded Rectangular Callout 16">
            <a:extLst>
              <a:ext uri="{FF2B5EF4-FFF2-40B4-BE49-F238E27FC236}">
                <a16:creationId xmlns:a16="http://schemas.microsoft.com/office/drawing/2014/main" id="{990FEC1F-93C0-1405-653F-6930D173B03C}"/>
              </a:ext>
            </a:extLst>
          </p:cNvPr>
          <p:cNvSpPr/>
          <p:nvPr/>
        </p:nvSpPr>
        <p:spPr>
          <a:xfrm>
            <a:off x="571500" y="3943135"/>
            <a:ext cx="7146381" cy="2703651"/>
          </a:xfrm>
          <a:prstGeom prst="wedgeRoundRectCallout">
            <a:avLst>
              <a:gd name="adj1" fmla="val 59823"/>
              <a:gd name="adj2" fmla="val 25659"/>
              <a:gd name="adj3" fmla="val 16667"/>
            </a:avLst>
          </a:prstGeom>
          <a:noFill/>
          <a:ln w="28575"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Google Shape;91;p11">
            <a:extLst>
              <a:ext uri="{FF2B5EF4-FFF2-40B4-BE49-F238E27FC236}">
                <a16:creationId xmlns:a16="http://schemas.microsoft.com/office/drawing/2014/main" id="{AE0CA339-CF04-D740-2ACE-925EA8E771AA}"/>
              </a:ext>
            </a:extLst>
          </p:cNvPr>
          <p:cNvSpPr txBox="1"/>
          <p:nvPr/>
        </p:nvSpPr>
        <p:spPr>
          <a:xfrm>
            <a:off x="571500" y="1949980"/>
            <a:ext cx="7146382" cy="16311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000" dirty="0">
                <a:latin typeface="Arial"/>
                <a:ea typeface="Arial"/>
                <a:cs typeface="Arial"/>
                <a:sym typeface="Arial"/>
              </a:rPr>
              <a:t>Annual FFW workshop supported by NSF received a termination notice, but 44 mentees were invited to UC Irvine for the event on July 15-17 </a:t>
            </a:r>
          </a:p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2000" dirty="0">
              <a:latin typeface="Arial"/>
              <a:cs typeface="Arial"/>
              <a:sym typeface="Arial"/>
            </a:endParaRPr>
          </a:p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000" dirty="0">
                <a:latin typeface="Arial"/>
                <a:cs typeface="Arial"/>
                <a:sym typeface="Arial"/>
              </a:rPr>
              <a:t>IAB contributed a one-time $1000 for this urgent request</a:t>
            </a:r>
            <a:endParaRPr dirty="0"/>
          </a:p>
        </p:txBody>
      </p:sp>
      <p:pic>
        <p:nvPicPr>
          <p:cNvPr id="19" name="Picture 6" descr="Syensqo - Wikipedia">
            <a:extLst>
              <a:ext uri="{FF2B5EF4-FFF2-40B4-BE49-F238E27FC236}">
                <a16:creationId xmlns:a16="http://schemas.microsoft.com/office/drawing/2014/main" id="{AD8BBC98-5DF1-15EC-A76B-78D204C62C9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05817" y="6141814"/>
            <a:ext cx="986412" cy="3212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27307963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F46216B-77A9-411A-B9D3-5023FCB70208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10148</TotalTime>
  <Words>915</Words>
  <Application>Microsoft Macintosh PowerPoint</Application>
  <PresentationFormat>Widescreen</PresentationFormat>
  <Paragraphs>168</Paragraphs>
  <Slides>13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3</vt:i4>
      </vt:variant>
    </vt:vector>
  </HeadingPairs>
  <TitlesOfParts>
    <vt:vector size="20" baseType="lpstr">
      <vt:lpstr>Arial</vt:lpstr>
      <vt:lpstr>Arial Black</vt:lpstr>
      <vt:lpstr>Calibri</vt:lpstr>
      <vt:lpstr>Calibri Light</vt:lpstr>
      <vt:lpstr>Times New Roman</vt:lpstr>
      <vt:lpstr>Office Theme</vt:lpstr>
      <vt:lpstr>think-cell Slide</vt:lpstr>
      <vt:lpstr>POLY Industrial Advisory Board</vt:lpstr>
      <vt:lpstr>IAB Mission &amp; Officers 2025</vt:lpstr>
      <vt:lpstr>IAB Focuses for 2025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ublicity Initiative: IAB Members Spotlight</vt:lpstr>
      <vt:lpstr>      Welcome 2026 IAB Co-Chair, Kapil Dev Sayala (R&amp;D Scientist, SEQENS)</vt:lpstr>
      <vt:lpstr>Thank you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LY Industrial Advisory Board</dc:title>
  <dc:creator>Lesia Linkous Pristas</dc:creator>
  <cp:lastModifiedBy>Jeff Ting</cp:lastModifiedBy>
  <cp:revision>165</cp:revision>
  <cp:lastPrinted>2021-08-11T15:07:51Z</cp:lastPrinted>
  <dcterms:created xsi:type="dcterms:W3CDTF">2019-03-21T17:42:19Z</dcterms:created>
  <dcterms:modified xsi:type="dcterms:W3CDTF">2025-08-14T15:43:1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3aac0ad3-18d9-49e9-a80d-c985041778ba_Enabled">
    <vt:lpwstr>true</vt:lpwstr>
  </property>
  <property fmtid="{D5CDD505-2E9C-101B-9397-08002B2CF9AE}" pid="3" name="MSIP_Label_3aac0ad3-18d9-49e9-a80d-c985041778ba_SetDate">
    <vt:lpwstr>2022-07-29T20:14:44Z</vt:lpwstr>
  </property>
  <property fmtid="{D5CDD505-2E9C-101B-9397-08002B2CF9AE}" pid="4" name="MSIP_Label_3aac0ad3-18d9-49e9-a80d-c985041778ba_Method">
    <vt:lpwstr>Standard</vt:lpwstr>
  </property>
  <property fmtid="{D5CDD505-2E9C-101B-9397-08002B2CF9AE}" pid="5" name="MSIP_Label_3aac0ad3-18d9-49e9-a80d-c985041778ba_Name">
    <vt:lpwstr>General Business</vt:lpwstr>
  </property>
  <property fmtid="{D5CDD505-2E9C-101B-9397-08002B2CF9AE}" pid="6" name="MSIP_Label_3aac0ad3-18d9-49e9-a80d-c985041778ba_SiteId">
    <vt:lpwstr>c3e32f53-cb7f-4809-968d-1cc4ccc785fe</vt:lpwstr>
  </property>
  <property fmtid="{D5CDD505-2E9C-101B-9397-08002B2CF9AE}" pid="7" name="MSIP_Label_3aac0ad3-18d9-49e9-a80d-c985041778ba_ActionId">
    <vt:lpwstr>8bc4ed34-8d51-45a3-beeb-e2b6299b5efe</vt:lpwstr>
  </property>
  <property fmtid="{D5CDD505-2E9C-101B-9397-08002B2CF9AE}" pid="8" name="MSIP_Label_3aac0ad3-18d9-49e9-a80d-c985041778ba_ContentBits">
    <vt:lpwstr>2</vt:lpwstr>
  </property>
  <property fmtid="{D5CDD505-2E9C-101B-9397-08002B2CF9AE}" pid="9" name="MSIP_Label_defa4170-0d19-0005-0004-bc88714345d2_Enabled">
    <vt:lpwstr>true</vt:lpwstr>
  </property>
  <property fmtid="{D5CDD505-2E9C-101B-9397-08002B2CF9AE}" pid="10" name="MSIP_Label_defa4170-0d19-0005-0004-bc88714345d2_SetDate">
    <vt:lpwstr>2025-01-29T14:27:02Z</vt:lpwstr>
  </property>
  <property fmtid="{D5CDD505-2E9C-101B-9397-08002B2CF9AE}" pid="11" name="MSIP_Label_defa4170-0d19-0005-0004-bc88714345d2_Method">
    <vt:lpwstr>Standard</vt:lpwstr>
  </property>
  <property fmtid="{D5CDD505-2E9C-101B-9397-08002B2CF9AE}" pid="12" name="MSIP_Label_defa4170-0d19-0005-0004-bc88714345d2_Name">
    <vt:lpwstr>defa4170-0d19-0005-0004-bc88714345d2</vt:lpwstr>
  </property>
  <property fmtid="{D5CDD505-2E9C-101B-9397-08002B2CF9AE}" pid="13" name="MSIP_Label_defa4170-0d19-0005-0004-bc88714345d2_SiteId">
    <vt:lpwstr>5e60f7a7-d410-4d38-b875-93ca12adc30e</vt:lpwstr>
  </property>
  <property fmtid="{D5CDD505-2E9C-101B-9397-08002B2CF9AE}" pid="14" name="MSIP_Label_defa4170-0d19-0005-0004-bc88714345d2_ActionId">
    <vt:lpwstr>5ab35248-ae93-4bd6-ae2b-b5f11b0f28e8</vt:lpwstr>
  </property>
  <property fmtid="{D5CDD505-2E9C-101B-9397-08002B2CF9AE}" pid="15" name="MSIP_Label_defa4170-0d19-0005-0004-bc88714345d2_ContentBits">
    <vt:lpwstr>0</vt:lpwstr>
  </property>
</Properties>
</file>